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ags/tag2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753" r:id="rId5"/>
  </p:sldMasterIdLst>
  <p:notesMasterIdLst>
    <p:notesMasterId r:id="rId26"/>
  </p:notesMasterIdLst>
  <p:handoutMasterIdLst>
    <p:handoutMasterId r:id="rId27"/>
  </p:handoutMasterIdLst>
  <p:sldIdLst>
    <p:sldId id="1237" r:id="rId6"/>
    <p:sldId id="1238" r:id="rId7"/>
    <p:sldId id="1242" r:id="rId8"/>
    <p:sldId id="1219" r:id="rId9"/>
    <p:sldId id="1244" r:id="rId10"/>
    <p:sldId id="1245" r:id="rId11"/>
    <p:sldId id="1246" r:id="rId12"/>
    <p:sldId id="1247" r:id="rId13"/>
    <p:sldId id="1248" r:id="rId14"/>
    <p:sldId id="1249" r:id="rId15"/>
    <p:sldId id="1250" r:id="rId16"/>
    <p:sldId id="1251" r:id="rId17"/>
    <p:sldId id="1252" r:id="rId18"/>
    <p:sldId id="1253" r:id="rId19"/>
    <p:sldId id="1254" r:id="rId20"/>
    <p:sldId id="1255" r:id="rId21"/>
    <p:sldId id="1256" r:id="rId22"/>
    <p:sldId id="1243" r:id="rId23"/>
    <p:sldId id="1257" r:id="rId24"/>
    <p:sldId id="268" r:id="rId25"/>
  </p:sldIdLst>
  <p:sldSz cx="12192000" cy="6858000"/>
  <p:notesSz cx="6858000" cy="9144000"/>
  <p:custDataLst>
    <p:tags r:id="rId2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nny Welle" initials="DW" lastIdx="1" clrIdx="0">
    <p:extLst>
      <p:ext uri="{19B8F6BF-5375-455C-9EA6-DF929625EA0E}">
        <p15:presenceInfo xmlns:p15="http://schemas.microsoft.com/office/powerpoint/2012/main" userId="S::denwelle1@publicisgroupe.net::08b00602-60fa-48c3-96fb-06a947b67cd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57"/>
    <a:srgbClr val="00D7A0"/>
    <a:srgbClr val="0087BE"/>
    <a:srgbClr val="FF1000"/>
    <a:srgbClr val="C5FFCC"/>
    <a:srgbClr val="C30C3E"/>
    <a:srgbClr val="FF3B3B"/>
    <a:srgbClr val="FF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E3FDE45-AF77-4B5C-9715-49D594BDF05E}"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  <a:insideH>
            <a:ln w="12700" cmpd="sng">
              <a:solidFill>
                <a:schemeClr val="accent6">
                  <a:alpha val="15000"/>
                </a:schemeClr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</a:tcBdr>
        <a:fill>
          <a:solidFill>
            <a:schemeClr val="accent6">
              <a:alpha val="5000"/>
            </a:schemeClr>
          </a:solidFill>
        </a:fill>
      </a:tcStyle>
    </a:band1H>
    <a:band2H>
      <a:tcStyle>
        <a:tcBdr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</a:tcBdr>
      </a:tcStyle>
    </a:band2H>
    <a:band1V>
      <a:tcStyle>
        <a:tcBdr/>
        <a:fill>
          <a:solidFill>
            <a:schemeClr val="accent6">
              <a:alpha val="5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noFill/>
        </a:fill>
      </a:tcStyle>
    </a:lastRow>
    <a:firstRow>
      <a:tcTxStyle b="on"/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179" autoAdjust="0"/>
    <p:restoredTop sz="95826" autoAdjust="0"/>
  </p:normalViewPr>
  <p:slideViewPr>
    <p:cSldViewPr snapToGrid="0" showGuides="1">
      <p:cViewPr>
        <p:scale>
          <a:sx n="86" d="100"/>
          <a:sy n="86" d="100"/>
        </p:scale>
        <p:origin x="1048" y="355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-1180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 showGuides="1">
      <p:cViewPr varScale="1">
        <p:scale>
          <a:sx n="121" d="100"/>
          <a:sy n="121" d="100"/>
        </p:scale>
        <p:origin x="4188" y="12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handoutMaster" Target="handoutMasters/handoutMaster1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>
            <a:extLst>
              <a:ext uri="{FF2B5EF4-FFF2-40B4-BE49-F238E27FC236}">
                <a16:creationId xmlns:a16="http://schemas.microsoft.com/office/drawing/2014/main" id="{9A8492AF-21D1-4EA9-B88E-2B2469E5B0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sz="1050" b="1" dirty="0"/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F2C5CF11-9AB8-4366-83D6-4A911EAE67A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de-DE" sz="1050" dirty="0"/>
              <a:t>29.09.2020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9797856F-D8D3-4EDB-AD63-B3F84321424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sz="1050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DA566997-7A2F-418F-AC55-BAC678F9F13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de-DE" sz="1050" b="1" dirty="0">
                <a:solidFill>
                  <a:schemeClr val="accent2"/>
                </a:solidFill>
              </a:rPr>
              <a:t>Handzettel</a:t>
            </a:r>
            <a:r>
              <a:rPr lang="de-DE" sz="1050" dirty="0">
                <a:solidFill>
                  <a:schemeClr val="accent2"/>
                </a:solidFill>
              </a:rPr>
              <a:t> </a:t>
            </a:r>
            <a:fld id="{C92BABF8-1341-4DCB-864A-D83C08BEEAE4}" type="slidenum">
              <a:rPr lang="de-DE" sz="1050" smtClean="0"/>
              <a:t>‹Nr.›</a:t>
            </a:fld>
            <a:endParaRPr lang="de-DE" sz="1050" dirty="0"/>
          </a:p>
        </p:txBody>
      </p:sp>
      <p:pic>
        <p:nvPicPr>
          <p:cNvPr id="6" name="Siemens logo">
            <a:extLst>
              <a:ext uri="{FF2B5EF4-FFF2-40B4-BE49-F238E27FC236}">
                <a16:creationId xmlns:a16="http://schemas.microsoft.com/office/drawing/2014/main" id="{C5A460D9-E760-498F-8A06-286EB0B001C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53000" y="550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7834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 b="1"/>
            </a:lvl1pPr>
          </a:lstStyle>
          <a:p>
            <a:endParaRPr lang="de-DE" noProof="0" dirty="0"/>
          </a:p>
        </p:txBody>
      </p:sp>
      <p:sp>
        <p:nvSpPr>
          <p:cNvPr id="3" name="Date"/>
          <p:cNvSpPr>
            <a:spLocks noGrp="1"/>
          </p:cNvSpPr>
          <p:nvPr>
            <p:ph type="dt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/>
            </a:lvl1pPr>
          </a:lstStyle>
          <a:p>
            <a:r>
              <a:rPr lang="de-DE" noProof="0" dirty="0"/>
              <a:t>29.09.2020</a:t>
            </a:r>
          </a:p>
        </p:txBody>
      </p:sp>
      <p:sp>
        <p:nvSpPr>
          <p:cNvPr id="4" name="Slide Image Placeholder"/>
          <p:cNvSpPr>
            <a:spLocks noGrp="1" noRot="1" noChangeAspect="1"/>
          </p:cNvSpPr>
          <p:nvPr>
            <p:ph type="sldImg" idx="2"/>
          </p:nvPr>
        </p:nvSpPr>
        <p:spPr>
          <a:xfrm>
            <a:off x="406800" y="619200"/>
            <a:ext cx="6048000" cy="3402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noProof="0" dirty="0"/>
          </a:p>
        </p:txBody>
      </p:sp>
      <p:sp>
        <p:nvSpPr>
          <p:cNvPr id="5" name="Notes Placeholder"/>
          <p:cNvSpPr>
            <a:spLocks noGrp="1"/>
          </p:cNvSpPr>
          <p:nvPr>
            <p:ph type="body" sz="quarter" idx="3"/>
          </p:nvPr>
        </p:nvSpPr>
        <p:spPr>
          <a:xfrm>
            <a:off x="406800" y="4575600"/>
            <a:ext cx="6048000" cy="39600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4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50"/>
            </a:lvl1pPr>
          </a:lstStyle>
          <a:p>
            <a:endParaRPr lang="de-DE" noProof="0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50"/>
            </a:lvl1pPr>
          </a:lstStyle>
          <a:p>
            <a:r>
              <a:rPr lang="de-DE" b="1" noProof="0" dirty="0">
                <a:solidFill>
                  <a:schemeClr val="accent2"/>
                </a:solidFill>
              </a:rPr>
              <a:t>Notizzettel</a:t>
            </a:r>
            <a:r>
              <a:rPr lang="de-DE" noProof="0" dirty="0"/>
              <a:t> </a:t>
            </a:r>
            <a:fld id="{E76C657F-0E32-4130-ADDA-66B81138A76A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5273060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720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864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1008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1152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Vorlesen </a:t>
            </a:r>
            <a:r>
              <a:rPr lang="de-CH" dirty="0" err="1"/>
              <a:t>story</a:t>
            </a:r>
            <a:endParaRPr lang="de-CH" dirty="0"/>
          </a:p>
          <a:p>
            <a:r>
              <a:rPr lang="de-CH" dirty="0"/>
              <a:t>Diese </a:t>
            </a:r>
            <a:r>
              <a:rPr lang="de-CH" dirty="0" err="1"/>
              <a:t>geschichte</a:t>
            </a:r>
            <a:r>
              <a:rPr lang="de-CH" dirty="0"/>
              <a:t> fand ich </a:t>
            </a:r>
            <a:r>
              <a:rPr lang="de-CH" dirty="0" err="1"/>
              <a:t>ca</a:t>
            </a:r>
            <a:r>
              <a:rPr lang="de-CH" dirty="0"/>
              <a:t> vor einem </a:t>
            </a:r>
            <a:r>
              <a:rPr lang="de-CH" dirty="0" err="1"/>
              <a:t>monat</a:t>
            </a:r>
            <a:r>
              <a:rPr lang="de-CH" dirty="0"/>
              <a:t> bei mir zu hause.</a:t>
            </a:r>
          </a:p>
          <a:p>
            <a:r>
              <a:rPr lang="de-CH" dirty="0"/>
              <a:t>Jeder kennt dieses Spiel. Finde das spiel immer noch </a:t>
            </a:r>
            <a:r>
              <a:rPr lang="de-CH" dirty="0" err="1"/>
              <a:t>khul</a:t>
            </a:r>
            <a:r>
              <a:rPr lang="de-CH" dirty="0"/>
              <a:t> zum </a:t>
            </a:r>
            <a:r>
              <a:rPr lang="de-CH" dirty="0" err="1"/>
              <a:t>beispiel</a:t>
            </a:r>
            <a:r>
              <a:rPr lang="de-CH" dirty="0"/>
              <a:t> auf reisen oder so mit </a:t>
            </a:r>
            <a:r>
              <a:rPr lang="de-CH" dirty="0" err="1"/>
              <a:t>familie</a:t>
            </a:r>
            <a:endParaRPr lang="de-CH" dirty="0"/>
          </a:p>
          <a:p>
            <a:r>
              <a:rPr lang="de-CH" dirty="0"/>
              <a:t>Deshalb entschied ich mich dies zu digitalisieren (</a:t>
            </a:r>
            <a:r>
              <a:rPr lang="de-CH" dirty="0" err="1"/>
              <a:t>corona</a:t>
            </a:r>
            <a:r>
              <a:rPr lang="de-CH" dirty="0"/>
              <a:t>, </a:t>
            </a:r>
            <a:r>
              <a:rPr lang="de-CH" dirty="0" err="1"/>
              <a:t>distanz</a:t>
            </a:r>
            <a:r>
              <a:rPr lang="de-CH" dirty="0"/>
              <a:t> egal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 noProof="0">
                <a:solidFill>
                  <a:schemeClr val="accent2"/>
                </a:solidFill>
              </a:rPr>
              <a:t>Notizzettel</a:t>
            </a:r>
            <a:r>
              <a:rPr lang="de-DE" noProof="0"/>
              <a:t> </a:t>
            </a:r>
            <a:fld id="{E76C657F-0E32-4130-ADDA-66B81138A76A}" type="slidenum">
              <a:rPr lang="de-DE" noProof="0" smtClean="0"/>
              <a:pPr/>
              <a:t>1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5931326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 noProof="0">
                <a:solidFill>
                  <a:schemeClr val="accent2"/>
                </a:solidFill>
              </a:rPr>
              <a:t>Notizzettel</a:t>
            </a:r>
            <a:r>
              <a:rPr lang="de-DE" noProof="0"/>
              <a:t> </a:t>
            </a:r>
            <a:fld id="{E76C657F-0E32-4130-ADDA-66B81138A76A}" type="slidenum">
              <a:rPr lang="de-DE" noProof="0" smtClean="0"/>
              <a:pPr/>
              <a:t>4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0525157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2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3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sv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sv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2.sv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2.sv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2.sv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3.sv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fireworks, star, table, sky&#10;&#10;Description automatically generated">
            <a:extLst>
              <a:ext uri="{FF2B5EF4-FFF2-40B4-BE49-F238E27FC236}">
                <a16:creationId xmlns:a16="http://schemas.microsoft.com/office/drawing/2014/main" id="{DF892EFA-26AA-42CB-AADD-84B12356C4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Titel 8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de-DE" noProof="0"/>
              <a:t>Subhead für Titelgröße 80 pt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62505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8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de-DE" noProof="0"/>
              <a:t>Subhead für Titelgröße 48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6653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Titelformat bearbeiten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1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de-DE" noProof="0" dirty="0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36068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10C7B869-3095-4D4F-B832-8B6077991A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Titelformat bearbeiten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299C05E6-AE55-4C36-8543-1DA3751542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3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endParaRPr lang="de-DE" noProof="0" dirty="0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BA12055-C879-45E9-A105-2B26D233C9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9AD82E40-8759-4AAC-B9F2-63E0F2C4CC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9690692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Titelformat bearbeiten</a:t>
            </a:r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4812" y="1414461"/>
            <a:ext cx="11376026" cy="4392000"/>
          </a:xfrm>
        </p:spPr>
        <p:txBody>
          <a:bodyPr/>
          <a:lstStyle/>
          <a:p>
            <a:endParaRPr lang="de-DE" noProof="0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12846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11" name="Copy 2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10" name="Copy 3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87406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de-DE" noProof="0"/>
              <a:t>Bitte hier das Zitat einfügen.</a:t>
            </a:r>
          </a:p>
          <a:p>
            <a:pPr lvl="1"/>
            <a:r>
              <a:rPr lang="de-DE" noProof="0"/>
              <a:t>Name, Aut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de-DE" noProof="0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62262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de-DE" noProof="0"/>
              <a:t>Bitte hier das Zitat einfügen.</a:t>
            </a:r>
          </a:p>
          <a:p>
            <a:pPr lvl="1"/>
            <a:r>
              <a:rPr lang="de-DE" noProof="0"/>
              <a:t>Name, Aut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 userDrawn="1"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de-DE" noProof="0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73912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de-DE" noProof="0"/>
              <a:t>Titelformat durch Klicken bearbeiten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108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de-DE" noProof="0"/>
              <a:t>Titelformat durch Klicken bearbeiten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93780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163" y="1234800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40000">
              <a:defRPr sz="8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Kontak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de-DE" noProof="0"/>
              <a:t>Kontakt bearbeiten</a:t>
            </a:r>
          </a:p>
          <a:p>
            <a:pPr lvl="1"/>
            <a:r>
              <a:rPr lang="de-DE" noProof="0"/>
              <a:t>Name etc.</a:t>
            </a:r>
          </a:p>
          <a:p>
            <a:pPr lvl="2"/>
            <a:r>
              <a:rPr lang="de-DE" noProof="0"/>
              <a:t>Abteilung etc.</a:t>
            </a:r>
          </a:p>
          <a:p>
            <a:pPr lvl="3"/>
            <a:r>
              <a:rPr lang="de-DE" noProof="0"/>
              <a:t>Unterkapitel</a:t>
            </a:r>
          </a:p>
          <a:p>
            <a:pPr lvl="4"/>
            <a:r>
              <a:rPr lang="de-DE" noProof="0"/>
              <a:t>Aktives Unterkapitel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67631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40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48920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Titel 36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36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06047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8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de-DE" noProof="0"/>
              <a:t>Subhead für Titelgröße 48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4236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40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03777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Titel 36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36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8242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8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de-DE" noProof="0"/>
              <a:t>Subhead für Titelgröße 48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83256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40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73617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Titel 36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36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08893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8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de-DE" noProof="0"/>
              <a:t>Subhead für Titelgröße 48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9111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close up of a light&#10;&#10;Description automatically generated">
            <a:extLst>
              <a:ext uri="{FF2B5EF4-FFF2-40B4-BE49-F238E27FC236}">
                <a16:creationId xmlns:a16="http://schemas.microsoft.com/office/drawing/2014/main" id="{420B79CB-8D66-48BD-A5D2-A37C0123FE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Titel 6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Titelgröße 60 pt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1179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40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1962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Titel 36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36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16475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8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de-DE" noProof="0"/>
              <a:t>Subhead für Titelgröße 48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6734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40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22259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Titel 36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36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4869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Kapiteltrenner 8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de-DE" noProof="0"/>
              <a:t>Subhead für Kapiteltrennergröße 80 pt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9905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Kapiteltrenner 6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Kapiteltrennergröße 60 pt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8591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</a:t>
            </a:r>
            <a:br>
              <a:rPr lang="de-DE" noProof="0"/>
            </a:br>
            <a:r>
              <a:rPr lang="de-DE" noProof="0"/>
              <a:t>4 Zeilen</a:t>
            </a:r>
            <a:br>
              <a:rPr lang="de-DE" noProof="0"/>
            </a:br>
            <a:r>
              <a:rPr lang="de-DE" noProof="0"/>
              <a:t>Kapiteltrenner 40 pt</a:t>
            </a:r>
            <a:br>
              <a:rPr lang="de-DE" noProof="0"/>
            </a:br>
            <a:r>
              <a:rPr lang="de-DE" noProof="0"/>
              <a:t>Extra lange Überschriften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Kapiteltrennergröße 40 pt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3221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Kapiteltrenner 8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de-DE" noProof="0"/>
              <a:t>Subhead für Kapiteltrennergröße 80 pt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1110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Kapiteltrenner 6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Kapiteltrennergröße 60 pt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3902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light, star&#10;&#10;Description automatically generated">
            <a:extLst>
              <a:ext uri="{FF2B5EF4-FFF2-40B4-BE49-F238E27FC236}">
                <a16:creationId xmlns:a16="http://schemas.microsoft.com/office/drawing/2014/main" id="{6ADAD97F-C8DC-4E41-BE8D-71AC2140F0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</a:t>
            </a:r>
            <a:br>
              <a:rPr lang="de-DE" noProof="0"/>
            </a:br>
            <a:r>
              <a:rPr lang="de-DE" noProof="0"/>
              <a:t>4 Zeilen</a:t>
            </a:r>
            <a:br>
              <a:rPr lang="de-DE" noProof="0"/>
            </a:br>
            <a:r>
              <a:rPr lang="de-DE" noProof="0"/>
              <a:t>Titel 40 pt</a:t>
            </a:r>
            <a:br>
              <a:rPr lang="de-DE" noProof="0"/>
            </a:br>
            <a:r>
              <a:rPr lang="de-DE" noProof="0"/>
              <a:t>Extra lange Überschriften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Titelgröße 40 pt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49615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399" y="1414463"/>
            <a:ext cx="11370437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</a:t>
            </a:r>
            <a:br>
              <a:rPr lang="de-DE" noProof="0"/>
            </a:br>
            <a:r>
              <a:rPr lang="de-DE" noProof="0"/>
              <a:t>4 Zeilen</a:t>
            </a:r>
            <a:br>
              <a:rPr lang="de-DE" noProof="0"/>
            </a:br>
            <a:r>
              <a:rPr lang="de-DE" noProof="0"/>
              <a:t>Kapiteltrenner 40 pt</a:t>
            </a:r>
            <a:br>
              <a:rPr lang="de-DE" noProof="0"/>
            </a:br>
            <a:r>
              <a:rPr lang="de-DE" noProof="0"/>
              <a:t>Extra lange Überschriften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Kapiteltrennergröße 40 pt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80367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Cognisphere" descr="A picture containing chart&#10;&#10;Description automatically generated">
            <a:extLst>
              <a:ext uri="{FF2B5EF4-FFF2-40B4-BE49-F238E27FC236}">
                <a16:creationId xmlns:a16="http://schemas.microsoft.com/office/drawing/2014/main" id="{D43FFEAA-E7FF-47DB-9F0A-3997BEA2F2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478800"/>
            <a:ext cx="5904675" cy="576000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/>
              <a:t>Inhaltsverzeichnis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de-DE" noProof="0"/>
              <a:t>Inhaltsverzeichnis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747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Inhaltsverzeichnis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8236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noProof="0"/>
              <a:t>Titelformat bearbeiten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30029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noProof="0"/>
              <a:t>Titelformat bearbeiten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9686267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Ganzseitiges 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</a:t>
            </a:r>
            <a:br>
              <a:rPr lang="de-DE" noProof="0"/>
            </a:br>
            <a:r>
              <a:rPr lang="de-DE" noProof="0"/>
              <a:t>bearbeiten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199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3 Zeilen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279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522" userDrawn="1">
          <p15:clr>
            <a:srgbClr val="65CEFF"/>
          </p15:clr>
        </p15:guide>
        <p15:guide id="3" pos="4794" userDrawn="1">
          <p15:clr>
            <a:srgbClr val="65CEFF"/>
          </p15:clr>
        </p15:guide>
        <p15:guide id="4" pos="5066" userDrawn="1">
          <p15:clr>
            <a:srgbClr val="65CEFF"/>
          </p15:clr>
        </p15:guide>
        <p15:guide id="5" pos="6472" userDrawn="1">
          <p15:clr>
            <a:srgbClr val="65CEFF"/>
          </p15:clr>
        </p15:guide>
        <p15:guide id="6" pos="7425" userDrawn="1">
          <p15:clr>
            <a:srgbClr val="65CEFF"/>
          </p15:clr>
        </p15:guide>
        <p15:guide id="7" orient="horz" pos="302" userDrawn="1">
          <p15:clr>
            <a:srgbClr val="65CEFF"/>
          </p15:clr>
        </p15:guide>
        <p15:guide id="8" orient="horz" pos="664" userDrawn="1">
          <p15:clr>
            <a:srgbClr val="65CEFF"/>
          </p15:clr>
        </p15:guide>
        <p15:guide id="9" orient="horz" pos="891" userDrawn="1">
          <p15:clr>
            <a:srgbClr val="65CEFF"/>
          </p15:clr>
        </p15:guide>
        <p15:guide id="10" orient="horz" pos="3658" userDrawn="1">
          <p15:clr>
            <a:srgbClr val="65CEFF"/>
          </p15:clr>
        </p15:guide>
        <p15:guide id="11" orient="horz" pos="3885" userDrawn="1">
          <p15:clr>
            <a:srgbClr val="65CEFF"/>
          </p15:clr>
        </p15:guide>
        <p15:guide id="12" orient="horz" pos="4157" userDrawn="1">
          <p15:clr>
            <a:srgbClr val="65CEFF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fish, monitor, keyboard, computer&#10;&#10;Description automatically generated">
            <a:extLst>
              <a:ext uri="{FF2B5EF4-FFF2-40B4-BE49-F238E27FC236}">
                <a16:creationId xmlns:a16="http://schemas.microsoft.com/office/drawing/2014/main" id="{3F881CD6-C462-4F22-A33A-D863714CB9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5345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75506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 (with key visual)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sky, water, star&#10;&#10;Description automatically generated">
            <a:extLst>
              <a:ext uri="{FF2B5EF4-FFF2-40B4-BE49-F238E27FC236}">
                <a16:creationId xmlns:a16="http://schemas.microsoft.com/office/drawing/2014/main" id="{023B7438-1A5A-45DD-BC01-0328F6E18D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60832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3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A6B84324-1EA7-4CFC-90A8-828085020A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Titel 8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Titelgröße 80 pt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5914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48758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Titelformat bearbeiten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2942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6472" userDrawn="1">
          <p15:clr>
            <a:srgbClr val="65CEFF"/>
          </p15:clr>
        </p15:guide>
        <p15:guide id="4" pos="7425" userDrawn="1">
          <p15:clr>
            <a:srgbClr val="65CEFF"/>
          </p15:clr>
        </p15:guide>
        <p15:guide id="5" orient="horz" pos="302" userDrawn="1">
          <p15:clr>
            <a:srgbClr val="65CEFF"/>
          </p15:clr>
        </p15:guide>
        <p15:guide id="6" orient="horz" pos="664" userDrawn="1">
          <p15:clr>
            <a:srgbClr val="65CEFF"/>
          </p15:clr>
        </p15:guide>
        <p15:guide id="7" orient="horz" pos="891" userDrawn="1">
          <p15:clr>
            <a:srgbClr val="65CEFF"/>
          </p15:clr>
        </p15:guide>
        <p15:guide id="8" orient="horz" pos="3658" userDrawn="1">
          <p15:clr>
            <a:srgbClr val="65CEFF"/>
          </p15:clr>
        </p15:guide>
        <p15:guide id="9" orient="horz" pos="3885" userDrawn="1">
          <p15:clr>
            <a:srgbClr val="65CEFF"/>
          </p15:clr>
        </p15:guide>
        <p15:guide id="10" orient="horz" pos="4157" userDrawn="1">
          <p15:clr>
            <a:srgbClr val="65CEFF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Titelformat bearbeiten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76545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302" userDrawn="1">
          <p15:clr>
            <a:srgbClr val="65CEFF"/>
          </p15:clr>
        </p15:guide>
        <p15:guide id="5" orient="horz" pos="664" userDrawn="1">
          <p15:clr>
            <a:srgbClr val="65CEFF"/>
          </p15:clr>
        </p15:guide>
        <p15:guide id="6" orient="horz" pos="891" userDrawn="1">
          <p15:clr>
            <a:srgbClr val="65CEFF"/>
          </p15:clr>
        </p15:guide>
        <p15:guide id="7" orient="horz" pos="3658" userDrawn="1">
          <p15:clr>
            <a:srgbClr val="65CEFF"/>
          </p15:clr>
        </p15:guide>
        <p15:guide id="8" orient="horz" pos="3885" userDrawn="1">
          <p15:clr>
            <a:srgbClr val="65CEFF"/>
          </p15:clr>
        </p15:guide>
        <p15:guide id="9" orient="horz" pos="4157" userDrawn="1">
          <p15:clr>
            <a:srgbClr val="65CEFF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Titelformat bearbeiten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439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3705" userDrawn="1">
          <p15:clr>
            <a:srgbClr val="65CEFF"/>
          </p15:clr>
        </p15:guide>
        <p15:guide id="3" pos="3978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Titelformat bearbeiten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8910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4975" userDrawn="1">
          <p15:clr>
            <a:srgbClr val="65CEFF"/>
          </p15:clr>
        </p15:guide>
        <p15:guide id="5" pos="5157" userDrawn="1">
          <p15:clr>
            <a:srgbClr val="65CEFF"/>
          </p15:clr>
        </p15:guide>
        <p15:guide id="6" pos="6472" userDrawn="1">
          <p15:clr>
            <a:srgbClr val="65CEFF"/>
          </p15:clr>
        </p15:guide>
        <p15:guide id="7" pos="7425" userDrawn="1">
          <p15:clr>
            <a:srgbClr val="65CEFF"/>
          </p15:clr>
        </p15:guide>
        <p15:guide id="8" orient="horz" pos="302" userDrawn="1">
          <p15:clr>
            <a:srgbClr val="65CEFF"/>
          </p15:clr>
        </p15:guide>
        <p15:guide id="9" orient="horz" pos="664" userDrawn="1">
          <p15:clr>
            <a:srgbClr val="65CEFF"/>
          </p15:clr>
        </p15:guide>
        <p15:guide id="10" orient="horz" pos="891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Titelformat bearbeiten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860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3705" userDrawn="1">
          <p15:clr>
            <a:srgbClr val="65CEFF"/>
          </p15:clr>
        </p15:guide>
        <p15:guide id="3" pos="3978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2206" userDrawn="1">
          <p15:clr>
            <a:srgbClr val="65CEFF"/>
          </p15:clr>
        </p15:guide>
        <p15:guide id="10" orient="horz" pos="2343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Titelformat bearbeiten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1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de-DE" noProof="0" dirty="0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8488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5066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10C7B869-3095-4D4F-B832-8B6077991A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Titelformat bearbeiten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299C05E6-AE55-4C36-8543-1DA3751542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3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endParaRPr lang="de-DE" noProof="0" dirty="0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BA12055-C879-45E9-A105-2B26D233C9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9AD82E40-8759-4AAC-B9F2-63E0F2C4CC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664610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5066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Titelformat bearbeiten</a:t>
            </a:r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4812" y="1414461"/>
            <a:ext cx="11376026" cy="4392000"/>
          </a:xfrm>
        </p:spPr>
        <p:txBody>
          <a:bodyPr/>
          <a:lstStyle/>
          <a:p>
            <a:endParaRPr lang="de-DE" noProof="0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24288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302" userDrawn="1">
          <p15:clr>
            <a:srgbClr val="65CEFF"/>
          </p15:clr>
        </p15:guide>
        <p15:guide id="5" orient="horz" pos="664" userDrawn="1">
          <p15:clr>
            <a:srgbClr val="65CEFF"/>
          </p15:clr>
        </p15:guide>
        <p15:guide id="6" orient="horz" pos="891" userDrawn="1">
          <p15:clr>
            <a:srgbClr val="65CEFF"/>
          </p15:clr>
        </p15:guide>
        <p15:guide id="7" orient="horz" pos="3658" userDrawn="1">
          <p15:clr>
            <a:srgbClr val="65CEFF"/>
          </p15:clr>
        </p15:guide>
        <p15:guide id="8" orient="horz" pos="3885" userDrawn="1">
          <p15:clr>
            <a:srgbClr val="65CEFF"/>
          </p15:clr>
        </p15:guide>
        <p15:guide id="9" orient="horz" pos="4157" userDrawn="1">
          <p15:clr>
            <a:srgbClr val="65CEFF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11" name="Copy 2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10" name="Copy 3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01582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4975" userDrawn="1">
          <p15:clr>
            <a:srgbClr val="65CEFF"/>
          </p15:clr>
        </p15:guide>
        <p15:guide id="5" pos="5157" userDrawn="1">
          <p15:clr>
            <a:srgbClr val="65CEFF"/>
          </p15:clr>
        </p15:guide>
        <p15:guide id="6" pos="6472" userDrawn="1">
          <p15:clr>
            <a:srgbClr val="65CEFF"/>
          </p15:clr>
        </p15:guide>
        <p15:guide id="7" pos="7425" userDrawn="1">
          <p15:clr>
            <a:srgbClr val="65CEFF"/>
          </p15:clr>
        </p15:guide>
        <p15:guide id="8" orient="horz" pos="302" userDrawn="1">
          <p15:clr>
            <a:srgbClr val="65CEFF"/>
          </p15:clr>
        </p15:guide>
        <p15:guide id="9" orient="horz" pos="664" userDrawn="1">
          <p15:clr>
            <a:srgbClr val="65CEFF"/>
          </p15:clr>
        </p15:guide>
        <p15:guide id="10" orient="horz" pos="891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5EC16A07-2831-49DA-88B1-B2DAEFACD6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769989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Titel 6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Titelgröße 60 pt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54260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de-DE" noProof="0"/>
              <a:t>Bitte hier das Zitat einfügen.</a:t>
            </a:r>
          </a:p>
          <a:p>
            <a:pPr lvl="1"/>
            <a:r>
              <a:rPr lang="de-DE" noProof="0"/>
              <a:t>Name, Aut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de-DE" noProof="0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4199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91" userDrawn="1">
          <p15:clr>
            <a:srgbClr val="65CEFF"/>
          </p15:clr>
        </p15:guide>
        <p15:guide id="5" orient="horz" pos="1073" userDrawn="1">
          <p15:clr>
            <a:srgbClr val="65CEFF"/>
          </p15:clr>
        </p15:guide>
        <p15:guide id="6" orient="horz" pos="2206" userDrawn="1">
          <p15:clr>
            <a:srgbClr val="65CEFF"/>
          </p15:clr>
        </p15:guide>
        <p15:guide id="7" orient="horz" pos="2343" userDrawn="1">
          <p15:clr>
            <a:srgbClr val="65CEFF"/>
          </p15:clr>
        </p15:guide>
        <p15:guide id="8" orient="horz" pos="3658" userDrawn="1">
          <p15:clr>
            <a:srgbClr val="65CEFF"/>
          </p15:clr>
        </p15:guide>
        <p15:guide id="9" orient="horz" pos="3885" userDrawn="1">
          <p15:clr>
            <a:srgbClr val="65CEFF"/>
          </p15:clr>
        </p15:guide>
        <p15:guide id="10" orient="horz" pos="4157" userDrawn="1">
          <p15:clr>
            <a:srgbClr val="65CEFF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de-DE" noProof="0"/>
              <a:t>Bitte hier das Zitat einfügen.</a:t>
            </a:r>
          </a:p>
          <a:p>
            <a:pPr lvl="1"/>
            <a:r>
              <a:rPr lang="de-DE" noProof="0"/>
              <a:t>Name, Aut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 userDrawn="1"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de-DE" noProof="0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05121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91" userDrawn="1">
          <p15:clr>
            <a:srgbClr val="65CEFF"/>
          </p15:clr>
        </p15:guide>
        <p15:guide id="5" orient="horz" pos="1073" userDrawn="1">
          <p15:clr>
            <a:srgbClr val="65CEFF"/>
          </p15:clr>
        </p15:guide>
        <p15:guide id="6" orient="horz" pos="3658" userDrawn="1">
          <p15:clr>
            <a:srgbClr val="65CEFF"/>
          </p15:clr>
        </p15:guide>
        <p15:guide id="7" orient="horz" pos="3885" userDrawn="1">
          <p15:clr>
            <a:srgbClr val="65CEFF"/>
          </p15:clr>
        </p15:guide>
        <p15:guide id="8" orient="horz" pos="4157" userDrawn="1">
          <p15:clr>
            <a:srgbClr val="65CEFF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de-DE" noProof="0"/>
              <a:t>Titelformat durch Klicken bearbeiten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878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de-DE" noProof="0"/>
              <a:t>Titelformat durch Klicken bearbeiten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4166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01" userDrawn="1">
          <p15:clr>
            <a:srgbClr val="65CEFF"/>
          </p15:clr>
        </p15:guide>
        <p15:guide id="5" orient="horz" pos="3658" userDrawn="1">
          <p15:clr>
            <a:srgbClr val="65CEFF"/>
          </p15:clr>
        </p15:guide>
        <p15:guide id="6" orient="horz" pos="4157" userDrawn="1">
          <p15:clr>
            <a:srgbClr val="65CEFF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163" y="1234800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40000">
              <a:defRPr sz="8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Kontak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de-DE" noProof="0"/>
              <a:t>Kontakt bearbeiten</a:t>
            </a:r>
          </a:p>
          <a:p>
            <a:pPr lvl="1"/>
            <a:r>
              <a:rPr lang="de-DE" noProof="0"/>
              <a:t>Name etc.</a:t>
            </a:r>
          </a:p>
          <a:p>
            <a:pPr lvl="2"/>
            <a:r>
              <a:rPr lang="de-DE" noProof="0"/>
              <a:t>Abteilung etc.</a:t>
            </a:r>
          </a:p>
          <a:p>
            <a:pPr lvl="3"/>
            <a:r>
              <a:rPr lang="de-DE" noProof="0"/>
              <a:t>Unterkapitel</a:t>
            </a:r>
          </a:p>
          <a:p>
            <a:pPr lvl="4"/>
            <a:r>
              <a:rPr lang="de-DE" noProof="0"/>
              <a:t>Aktives Unterkapitel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07990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778" userDrawn="1">
          <p15:clr>
            <a:srgbClr val="65CEFF"/>
          </p15:clr>
        </p15:guide>
        <p15:guide id="5" orient="horz" pos="3658" userDrawn="1">
          <p15:clr>
            <a:srgbClr val="65CEFF"/>
          </p15:clr>
        </p15:guide>
        <p15:guide id="6" orient="horz" pos="4157" userDrawn="1">
          <p15:clr>
            <a:srgbClr val="65CEFF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fireworks, star, table, sky&#10;&#10;Description automatically generated">
            <a:extLst>
              <a:ext uri="{FF2B5EF4-FFF2-40B4-BE49-F238E27FC236}">
                <a16:creationId xmlns:a16="http://schemas.microsoft.com/office/drawing/2014/main" id="{DF892EFA-26AA-42CB-AADD-84B12356C4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Titel 8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de-DE" noProof="0"/>
              <a:t>Subhead für Titelgröße 80 pt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r>
              <a:rPr lang="de-DE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01725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close up of a light&#10;&#10;Description automatically generated">
            <a:extLst>
              <a:ext uri="{FF2B5EF4-FFF2-40B4-BE49-F238E27FC236}">
                <a16:creationId xmlns:a16="http://schemas.microsoft.com/office/drawing/2014/main" id="{420B79CB-8D66-48BD-A5D2-A37C0123FE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Titel 6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Titelgröße 60 pt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16001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light, star&#10;&#10;Description automatically generated">
            <a:extLst>
              <a:ext uri="{FF2B5EF4-FFF2-40B4-BE49-F238E27FC236}">
                <a16:creationId xmlns:a16="http://schemas.microsoft.com/office/drawing/2014/main" id="{6ADAD97F-C8DC-4E41-BE8D-71AC2140F0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</a:t>
            </a:r>
            <a:br>
              <a:rPr lang="de-DE" noProof="0"/>
            </a:br>
            <a:r>
              <a:rPr lang="de-DE" noProof="0"/>
              <a:t>4 Zeilen</a:t>
            </a:r>
            <a:br>
              <a:rPr lang="de-DE" noProof="0"/>
            </a:br>
            <a:r>
              <a:rPr lang="de-DE" noProof="0"/>
              <a:t>Titel 40 pt</a:t>
            </a:r>
            <a:br>
              <a:rPr lang="de-DE" noProof="0"/>
            </a:br>
            <a:r>
              <a:rPr lang="de-DE" noProof="0"/>
              <a:t>Extra lange Überschriften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Titelgröße 40 pt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11180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A6B84324-1EA7-4CFC-90A8-828085020A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Titel 8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Titelgröße 80 pt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92460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5EC16A07-2831-49DA-88B1-B2DAEFACD6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769989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Titel 6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Titelgröße 60 pt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29580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EBE89C8E-7FF1-4200-B3D3-59BBB2B4B1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</a:t>
            </a:r>
            <a:br>
              <a:rPr lang="de-DE" noProof="0"/>
            </a:br>
            <a:r>
              <a:rPr lang="de-DE" noProof="0"/>
              <a:t>4 Zeilen</a:t>
            </a:r>
            <a:br>
              <a:rPr lang="de-DE" noProof="0"/>
            </a:br>
            <a:r>
              <a:rPr lang="de-DE" noProof="0"/>
              <a:t>Titel 40 pt</a:t>
            </a:r>
            <a:br>
              <a:rPr lang="de-DE" noProof="0"/>
            </a:br>
            <a:r>
              <a:rPr lang="de-DE" noProof="0"/>
              <a:t>Extra lange Überschriften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Titelgröße 40 pt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55336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EBE89C8E-7FF1-4200-B3D3-59BBB2B4B1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</a:t>
            </a:r>
            <a:br>
              <a:rPr lang="de-DE" noProof="0"/>
            </a:br>
            <a:r>
              <a:rPr lang="de-DE" noProof="0"/>
              <a:t>4 Zeilen</a:t>
            </a:r>
            <a:br>
              <a:rPr lang="de-DE" noProof="0"/>
            </a:br>
            <a:r>
              <a:rPr lang="de-DE" noProof="0"/>
              <a:t>Titel 40 pt</a:t>
            </a:r>
            <a:br>
              <a:rPr lang="de-DE" noProof="0"/>
            </a:br>
            <a:r>
              <a:rPr lang="de-DE" noProof="0"/>
              <a:t>Extra lange Überschriften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Titelgröße 40 pt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51698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8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de-DE" noProof="0"/>
              <a:t>Subhead für Titelgröße 48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7085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40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21594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Titel 36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36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72381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8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de-DE" noProof="0"/>
              <a:t>Subhead für Titelgröße 48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39058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40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97911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Titel 36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36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71899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8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de-DE" noProof="0"/>
              <a:t>Subhead für Titelgröße 48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99885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40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49454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Titel 36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36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07705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8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de-DE" noProof="0"/>
              <a:t>Subhead für Titelgröße 48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0781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8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de-DE" noProof="0"/>
              <a:t>Subhead für Titelgröße 48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58701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40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22130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Titel 36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36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06327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8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de-DE" noProof="0"/>
              <a:t>Subhead für Titelgröße 48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82122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40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39164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Titel 36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36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76006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8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de-DE" noProof="0"/>
              <a:t>Subhead für Titelgröße 48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48532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40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27839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Titel 36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36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61689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Kapiteltrenner 8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de-DE" noProof="0"/>
              <a:t>Subhead für Kapiteltrennergröße 80 pt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00760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40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4751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Kapiteltrenner 6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Kapiteltrennergröße 60 pt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08084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</a:t>
            </a:r>
            <a:br>
              <a:rPr lang="de-DE" noProof="0"/>
            </a:br>
            <a:r>
              <a:rPr lang="de-DE" noProof="0"/>
              <a:t>4 Zeilen</a:t>
            </a:r>
            <a:br>
              <a:rPr lang="de-DE" noProof="0"/>
            </a:br>
            <a:r>
              <a:rPr lang="de-DE" noProof="0"/>
              <a:t>Kapiteltrenner 40 pt</a:t>
            </a:r>
            <a:br>
              <a:rPr lang="de-DE" noProof="0"/>
            </a:br>
            <a:r>
              <a:rPr lang="de-DE" noProof="0"/>
              <a:t>Extra lange Überschriften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Kapiteltrennergröße 40 pt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25037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Kapiteltrenner 8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de-DE" noProof="0"/>
              <a:t>Subhead für Kapiteltrennergröße 80 pt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34287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Kapiteltrenner 6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Kapiteltrennergröße 60 pt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03447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399" y="1414463"/>
            <a:ext cx="11370437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</a:t>
            </a:r>
            <a:br>
              <a:rPr lang="de-DE" noProof="0"/>
            </a:br>
            <a:r>
              <a:rPr lang="de-DE" noProof="0"/>
              <a:t>4 Zeilen</a:t>
            </a:r>
            <a:br>
              <a:rPr lang="de-DE" noProof="0"/>
            </a:br>
            <a:r>
              <a:rPr lang="de-DE" noProof="0"/>
              <a:t>Kapiteltrenner 40 pt</a:t>
            </a:r>
            <a:br>
              <a:rPr lang="de-DE" noProof="0"/>
            </a:br>
            <a:r>
              <a:rPr lang="de-DE" noProof="0"/>
              <a:t>Extra lange Überschriften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Kapiteltrennergröße 40 pt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8703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Cognisphere" descr="A picture containing chart&#10;&#10;Description automatically generated">
            <a:extLst>
              <a:ext uri="{FF2B5EF4-FFF2-40B4-BE49-F238E27FC236}">
                <a16:creationId xmlns:a16="http://schemas.microsoft.com/office/drawing/2014/main" id="{D43FFEAA-E7FF-47DB-9F0A-3997BEA2F2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478800"/>
            <a:ext cx="5904675" cy="576000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/>
              <a:t>Inhaltsverzeichnis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de-DE" noProof="0"/>
              <a:t>Inhaltsverzeichnis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98840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Inhaltsverzeichnis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12558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noProof="0"/>
              <a:t>Titelformat bearbeiten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320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noProof="0"/>
              <a:t>Titelformat bearbeiten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160528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Ganzseitiges 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</a:t>
            </a:r>
            <a:br>
              <a:rPr lang="de-DE" noProof="0"/>
            </a:br>
            <a:r>
              <a:rPr lang="de-DE" noProof="0"/>
              <a:t>bearbeiten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77824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Titel 36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36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94284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3 Zeilen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6805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fish, monitor, keyboard, computer&#10;&#10;Description automatically generated">
            <a:extLst>
              <a:ext uri="{FF2B5EF4-FFF2-40B4-BE49-F238E27FC236}">
                <a16:creationId xmlns:a16="http://schemas.microsoft.com/office/drawing/2014/main" id="{3F881CD6-C462-4F22-A33A-D863714CB9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70556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6567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 (with key visual)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sky, water, star&#10;&#10;Description automatically generated">
            <a:extLst>
              <a:ext uri="{FF2B5EF4-FFF2-40B4-BE49-F238E27FC236}">
                <a16:creationId xmlns:a16="http://schemas.microsoft.com/office/drawing/2014/main" id="{023B7438-1A5A-45DD-BC01-0328F6E18D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20174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81096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Titelformat bearbeiten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6714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Titelformat bearbeiten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82084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Titelformat bearbeiten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5748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Titelformat bearbeiten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82877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Titelformat bearbeiten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07996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26" Type="http://schemas.openxmlformats.org/officeDocument/2006/relationships/slideLayout" Target="../slideLayouts/slideLayout80.xml"/><Relationship Id="rId39" Type="http://schemas.openxmlformats.org/officeDocument/2006/relationships/slideLayout" Target="../slideLayouts/slideLayout93.xml"/><Relationship Id="rId21" Type="http://schemas.openxmlformats.org/officeDocument/2006/relationships/slideLayout" Target="../slideLayouts/slideLayout75.xml"/><Relationship Id="rId34" Type="http://schemas.openxmlformats.org/officeDocument/2006/relationships/slideLayout" Target="../slideLayouts/slideLayout88.xml"/><Relationship Id="rId42" Type="http://schemas.openxmlformats.org/officeDocument/2006/relationships/slideLayout" Target="../slideLayouts/slideLayout96.xml"/><Relationship Id="rId47" Type="http://schemas.openxmlformats.org/officeDocument/2006/relationships/slideLayout" Target="../slideLayouts/slideLayout101.xml"/><Relationship Id="rId50" Type="http://schemas.openxmlformats.org/officeDocument/2006/relationships/slideLayout" Target="../slideLayouts/slideLayout104.xml"/><Relationship Id="rId55" Type="http://schemas.openxmlformats.org/officeDocument/2006/relationships/theme" Target="../theme/theme2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5" Type="http://schemas.openxmlformats.org/officeDocument/2006/relationships/slideLayout" Target="../slideLayouts/slideLayout79.xml"/><Relationship Id="rId33" Type="http://schemas.openxmlformats.org/officeDocument/2006/relationships/slideLayout" Target="../slideLayouts/slideLayout87.xml"/><Relationship Id="rId38" Type="http://schemas.openxmlformats.org/officeDocument/2006/relationships/slideLayout" Target="../slideLayouts/slideLayout92.xml"/><Relationship Id="rId46" Type="http://schemas.openxmlformats.org/officeDocument/2006/relationships/slideLayout" Target="../slideLayouts/slideLayout100.xml"/><Relationship Id="rId59" Type="http://schemas.openxmlformats.org/officeDocument/2006/relationships/image" Target="../media/image1.emf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0" Type="http://schemas.openxmlformats.org/officeDocument/2006/relationships/slideLayout" Target="../slideLayouts/slideLayout74.xml"/><Relationship Id="rId29" Type="http://schemas.openxmlformats.org/officeDocument/2006/relationships/slideLayout" Target="../slideLayouts/slideLayout83.xml"/><Relationship Id="rId41" Type="http://schemas.openxmlformats.org/officeDocument/2006/relationships/slideLayout" Target="../slideLayouts/slideLayout95.xml"/><Relationship Id="rId54" Type="http://schemas.openxmlformats.org/officeDocument/2006/relationships/slideLayout" Target="../slideLayouts/slideLayout108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24" Type="http://schemas.openxmlformats.org/officeDocument/2006/relationships/slideLayout" Target="../slideLayouts/slideLayout78.xml"/><Relationship Id="rId32" Type="http://schemas.openxmlformats.org/officeDocument/2006/relationships/slideLayout" Target="../slideLayouts/slideLayout86.xml"/><Relationship Id="rId37" Type="http://schemas.openxmlformats.org/officeDocument/2006/relationships/slideLayout" Target="../slideLayouts/slideLayout91.xml"/><Relationship Id="rId40" Type="http://schemas.openxmlformats.org/officeDocument/2006/relationships/slideLayout" Target="../slideLayouts/slideLayout94.xml"/><Relationship Id="rId45" Type="http://schemas.openxmlformats.org/officeDocument/2006/relationships/slideLayout" Target="../slideLayouts/slideLayout99.xml"/><Relationship Id="rId53" Type="http://schemas.openxmlformats.org/officeDocument/2006/relationships/slideLayout" Target="../slideLayouts/slideLayout107.xml"/><Relationship Id="rId58" Type="http://schemas.openxmlformats.org/officeDocument/2006/relationships/oleObject" Target="../embeddings/oleObject2.bin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23" Type="http://schemas.openxmlformats.org/officeDocument/2006/relationships/slideLayout" Target="../slideLayouts/slideLayout77.xml"/><Relationship Id="rId28" Type="http://schemas.openxmlformats.org/officeDocument/2006/relationships/slideLayout" Target="../slideLayouts/slideLayout82.xml"/><Relationship Id="rId36" Type="http://schemas.openxmlformats.org/officeDocument/2006/relationships/slideLayout" Target="../slideLayouts/slideLayout90.xml"/><Relationship Id="rId49" Type="http://schemas.openxmlformats.org/officeDocument/2006/relationships/slideLayout" Target="../slideLayouts/slideLayout103.xml"/><Relationship Id="rId57" Type="http://schemas.openxmlformats.org/officeDocument/2006/relationships/tags" Target="../tags/tag3.xml"/><Relationship Id="rId10" Type="http://schemas.openxmlformats.org/officeDocument/2006/relationships/slideLayout" Target="../slideLayouts/slideLayout64.xml"/><Relationship Id="rId19" Type="http://schemas.openxmlformats.org/officeDocument/2006/relationships/slideLayout" Target="../slideLayouts/slideLayout73.xml"/><Relationship Id="rId31" Type="http://schemas.openxmlformats.org/officeDocument/2006/relationships/slideLayout" Target="../slideLayouts/slideLayout85.xml"/><Relationship Id="rId44" Type="http://schemas.openxmlformats.org/officeDocument/2006/relationships/slideLayout" Target="../slideLayouts/slideLayout98.xml"/><Relationship Id="rId52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slideLayout" Target="../slideLayouts/slideLayout76.xml"/><Relationship Id="rId27" Type="http://schemas.openxmlformats.org/officeDocument/2006/relationships/slideLayout" Target="../slideLayouts/slideLayout81.xml"/><Relationship Id="rId30" Type="http://schemas.openxmlformats.org/officeDocument/2006/relationships/slideLayout" Target="../slideLayouts/slideLayout84.xml"/><Relationship Id="rId35" Type="http://schemas.openxmlformats.org/officeDocument/2006/relationships/slideLayout" Target="../slideLayouts/slideLayout89.xml"/><Relationship Id="rId43" Type="http://schemas.openxmlformats.org/officeDocument/2006/relationships/slideLayout" Target="../slideLayouts/slideLayout97.xml"/><Relationship Id="rId48" Type="http://schemas.openxmlformats.org/officeDocument/2006/relationships/slideLayout" Target="../slideLayouts/slideLayout102.xml"/><Relationship Id="rId56" Type="http://schemas.openxmlformats.org/officeDocument/2006/relationships/vmlDrawing" Target="../drawings/vmlDrawing2.vml"/><Relationship Id="rId8" Type="http://schemas.openxmlformats.org/officeDocument/2006/relationships/slideLayout" Target="../slideLayouts/slideLayout62.xml"/><Relationship Id="rId51" Type="http://schemas.openxmlformats.org/officeDocument/2006/relationships/slideLayout" Target="../slideLayouts/slideLayout105.xml"/><Relationship Id="rId3" Type="http://schemas.openxmlformats.org/officeDocument/2006/relationships/slideLayout" Target="../slideLayouts/slideLayout5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9D49D93-D59C-4299-AD20-D454B4D125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7"/>
            </p:custDataLst>
            <p:extLst>
              <p:ext uri="{D42A27DB-BD31-4B8C-83A1-F6EECF244321}">
                <p14:modId xmlns:p14="http://schemas.microsoft.com/office/powerpoint/2010/main" val="2558704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Folie" r:id="rId58" imgW="333" imgH="333" progId="TCLayout.ActiveDocument.1">
                  <p:embed/>
                </p:oleObj>
              </mc:Choice>
              <mc:Fallback>
                <p:oleObj name="think-cell Folie" r:id="rId58" imgW="333" imgH="33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59D49D93-D59C-4299-AD20-D454B4D125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698585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  <p:sldLayoutId id="2147483732" r:id="rId15"/>
    <p:sldLayoutId id="2147483733" r:id="rId16"/>
    <p:sldLayoutId id="2147483734" r:id="rId17"/>
    <p:sldLayoutId id="2147483735" r:id="rId18"/>
    <p:sldLayoutId id="2147483748" r:id="rId19"/>
    <p:sldLayoutId id="2147483749" r:id="rId20"/>
    <p:sldLayoutId id="2147483750" r:id="rId21"/>
    <p:sldLayoutId id="2147483745" r:id="rId22"/>
    <p:sldLayoutId id="2147483746" r:id="rId23"/>
    <p:sldLayoutId id="2147483747" r:id="rId24"/>
    <p:sldLayoutId id="2147483736" r:id="rId25"/>
    <p:sldLayoutId id="2147483737" r:id="rId26"/>
    <p:sldLayoutId id="2147483738" r:id="rId27"/>
    <p:sldLayoutId id="2147483739" r:id="rId28"/>
    <p:sldLayoutId id="2147483740" r:id="rId29"/>
    <p:sldLayoutId id="2147483741" r:id="rId30"/>
    <p:sldLayoutId id="2147483744" r:id="rId31"/>
    <p:sldLayoutId id="2147483708" r:id="rId32"/>
    <p:sldLayoutId id="2147483655" r:id="rId33"/>
    <p:sldLayoutId id="2147483742" r:id="rId34"/>
    <p:sldLayoutId id="2147483677" r:id="rId35"/>
    <p:sldLayoutId id="2147483709" r:id="rId36"/>
    <p:sldLayoutId id="2147483691" r:id="rId37"/>
    <p:sldLayoutId id="2147483751" r:id="rId38"/>
    <p:sldLayoutId id="2147483692" r:id="rId39"/>
    <p:sldLayoutId id="2147483752" r:id="rId40"/>
    <p:sldLayoutId id="2147483650" r:id="rId41"/>
    <p:sldLayoutId id="2147483665" r:id="rId42"/>
    <p:sldLayoutId id="2147483666" r:id="rId43"/>
    <p:sldLayoutId id="2147483697" r:id="rId44"/>
    <p:sldLayoutId id="2147483698" r:id="rId45"/>
    <p:sldLayoutId id="2147483652" r:id="rId46"/>
    <p:sldLayoutId id="2147483680" r:id="rId47"/>
    <p:sldLayoutId id="2147483694" r:id="rId48"/>
    <p:sldLayoutId id="2147483687" r:id="rId49"/>
    <p:sldLayoutId id="2147483681" r:id="rId50"/>
    <p:sldLayoutId id="2147483690" r:id="rId51"/>
    <p:sldLayoutId id="2147483711" r:id="rId52"/>
    <p:sldLayoutId id="2147483682" r:id="rId53"/>
    <p:sldLayoutId id="2147483678" r:id="rId5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133FB82-81C5-4D2F-9ECD-70C03D8BE7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7"/>
            </p:custDataLst>
            <p:extLst>
              <p:ext uri="{D42A27DB-BD31-4B8C-83A1-F6EECF244321}">
                <p14:modId xmlns:p14="http://schemas.microsoft.com/office/powerpoint/2010/main" val="528654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" name="think-cell Folie" r:id="rId58" imgW="333" imgH="333" progId="TCLayout.ActiveDocument.1">
                  <p:embed/>
                </p:oleObj>
              </mc:Choice>
              <mc:Fallback>
                <p:oleObj name="think-cell Folie" r:id="rId58" imgW="333" imgH="333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9133FB82-81C5-4D2F-9ECD-70C03D8BE7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8284567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60" r:id="rId7"/>
    <p:sldLayoutId id="2147483761" r:id="rId8"/>
    <p:sldLayoutId id="2147483762" r:id="rId9"/>
    <p:sldLayoutId id="2147483763" r:id="rId10"/>
    <p:sldLayoutId id="2147483764" r:id="rId11"/>
    <p:sldLayoutId id="2147483765" r:id="rId12"/>
    <p:sldLayoutId id="2147483766" r:id="rId13"/>
    <p:sldLayoutId id="2147483767" r:id="rId14"/>
    <p:sldLayoutId id="2147483768" r:id="rId15"/>
    <p:sldLayoutId id="2147483769" r:id="rId16"/>
    <p:sldLayoutId id="2147483770" r:id="rId17"/>
    <p:sldLayoutId id="2147483771" r:id="rId18"/>
    <p:sldLayoutId id="2147483772" r:id="rId19"/>
    <p:sldLayoutId id="2147483773" r:id="rId20"/>
    <p:sldLayoutId id="2147483774" r:id="rId21"/>
    <p:sldLayoutId id="2147483775" r:id="rId22"/>
    <p:sldLayoutId id="2147483776" r:id="rId23"/>
    <p:sldLayoutId id="2147483777" r:id="rId24"/>
    <p:sldLayoutId id="2147483778" r:id="rId25"/>
    <p:sldLayoutId id="2147483779" r:id="rId26"/>
    <p:sldLayoutId id="2147483780" r:id="rId27"/>
    <p:sldLayoutId id="2147483781" r:id="rId28"/>
    <p:sldLayoutId id="2147483782" r:id="rId29"/>
    <p:sldLayoutId id="2147483783" r:id="rId30"/>
    <p:sldLayoutId id="2147483784" r:id="rId31"/>
    <p:sldLayoutId id="2147483785" r:id="rId32"/>
    <p:sldLayoutId id="2147483786" r:id="rId33"/>
    <p:sldLayoutId id="2147483787" r:id="rId34"/>
    <p:sldLayoutId id="2147483788" r:id="rId35"/>
    <p:sldLayoutId id="2147483789" r:id="rId36"/>
    <p:sldLayoutId id="2147483790" r:id="rId37"/>
    <p:sldLayoutId id="2147483791" r:id="rId38"/>
    <p:sldLayoutId id="2147483792" r:id="rId39"/>
    <p:sldLayoutId id="2147483793" r:id="rId40"/>
    <p:sldLayoutId id="2147483794" r:id="rId41"/>
    <p:sldLayoutId id="2147483795" r:id="rId42"/>
    <p:sldLayoutId id="2147483796" r:id="rId43"/>
    <p:sldLayoutId id="2147483797" r:id="rId44"/>
    <p:sldLayoutId id="2147483798" r:id="rId45"/>
    <p:sldLayoutId id="2147483799" r:id="rId46"/>
    <p:sldLayoutId id="2147483800" r:id="rId47"/>
    <p:sldLayoutId id="2147483801" r:id="rId48"/>
    <p:sldLayoutId id="2147483802" r:id="rId49"/>
    <p:sldLayoutId id="2147483803" r:id="rId50"/>
    <p:sldLayoutId id="2147483804" r:id="rId51"/>
    <p:sldLayoutId id="2147483805" r:id="rId52"/>
    <p:sldLayoutId id="2147483806" r:id="rId53"/>
    <p:sldLayoutId id="2147483807" r:id="rId5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4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4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4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4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42.xml"/></Relationships>
</file>

<file path=ppt/slides/_rels/slide1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2.xml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7" Type="http://schemas.microsoft.com/office/2007/relationships/hdphoto" Target="../media/hdphoto2.wdp"/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34.png"/><Relationship Id="rId5" Type="http://schemas.microsoft.com/office/2007/relationships/hdphoto" Target="../media/hdphoto1.wdp"/><Relationship Id="rId4" Type="http://schemas.openxmlformats.org/officeDocument/2006/relationships/image" Target="../media/image3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42.xml"/><Relationship Id="rId4" Type="http://schemas.microsoft.com/office/2007/relationships/hdphoto" Target="../media/hdphoto2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42.xml"/><Relationship Id="rId4" Type="http://schemas.microsoft.com/office/2007/relationships/hdphoto" Target="../media/hdphoto2.wdp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4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7BA4629-48C1-47E8-91E9-17D045BDBC7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011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4" name="think-cell Folie" r:id="rId5" imgW="333" imgH="333" progId="TCLayout.ActiveDocument.1">
                  <p:embed/>
                </p:oleObj>
              </mc:Choice>
              <mc:Fallback>
                <p:oleObj name="think-cell Folie" r:id="rId5" imgW="333" imgH="33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7BA4629-48C1-47E8-91E9-17D045BDBC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">
            <a:extLst>
              <a:ext uri="{FF2B5EF4-FFF2-40B4-BE49-F238E27FC236}">
                <a16:creationId xmlns:a16="http://schemas.microsoft.com/office/drawing/2014/main" id="{C7413F94-559E-46DF-A817-2051A7BA9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606" y="1903791"/>
            <a:ext cx="11376788" cy="2462213"/>
          </a:xfrm>
        </p:spPr>
        <p:txBody>
          <a:bodyPr vert="horz" lIns="91440" tIns="45720" rIns="91440" bIns="45720" rtlCol="0" anchor="b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5400" dirty="0" err="1"/>
              <a:t>Präsentation</a:t>
            </a:r>
            <a:r>
              <a:rPr lang="en-US" sz="5400" dirty="0"/>
              <a:t>	</a:t>
            </a:r>
            <a:br>
              <a:rPr lang="en-US" sz="5400" b="0" dirty="0"/>
            </a:br>
            <a:r>
              <a:rPr lang="en-US" sz="5400" b="0" dirty="0"/>
              <a:t>M223: </a:t>
            </a:r>
            <a:r>
              <a:rPr lang="en-US" sz="5400" b="0" dirty="0" err="1"/>
              <a:t>Multiuserapplikation</a:t>
            </a:r>
            <a:br>
              <a:rPr lang="en-US" sz="5400" b="0" dirty="0"/>
            </a:br>
            <a:r>
              <a:rPr lang="en-US" sz="5400" b="0" dirty="0"/>
              <a:t>Folding Paper Story</a:t>
            </a:r>
          </a:p>
        </p:txBody>
      </p:sp>
      <p:sp>
        <p:nvSpPr>
          <p:cNvPr id="19" name="Footer Placeholder">
            <a:extLst>
              <a:ext uri="{FF2B5EF4-FFF2-40B4-BE49-F238E27FC236}">
                <a16:creationId xmlns:a16="http://schemas.microsoft.com/office/drawing/2014/main" id="{5ED04EB6-8094-49A8-95D9-3B67A19CE88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Intern | © Siemens 2021 | Lara Felix | SMO RC-CH RI PE 3 2 | 13.12.2021</a:t>
            </a:r>
          </a:p>
        </p:txBody>
      </p:sp>
    </p:spTree>
    <p:extLst>
      <p:ext uri="{BB962C8B-B14F-4D97-AF65-F5344CB8AC3E}">
        <p14:creationId xmlns:p14="http://schemas.microsoft.com/office/powerpoint/2010/main" val="8833858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F36C4FC-B2F6-4567-88A6-7A9D415D399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Intern | © Siemens 2021 | Lara Felix | SMO RC-CH RI PE 3 2 | 13.12.2021</a:t>
            </a:r>
          </a:p>
        </p:txBody>
      </p:sp>
      <p:pic>
        <p:nvPicPr>
          <p:cNvPr id="16" name="Inhaltsplatzhalter 15">
            <a:extLst>
              <a:ext uri="{FF2B5EF4-FFF2-40B4-BE49-F238E27FC236}">
                <a16:creationId xmlns:a16="http://schemas.microsoft.com/office/drawing/2014/main" id="{6F8606DD-C274-4129-B727-E87E54A4EC3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8510" t="64873" r="65734" b="7361"/>
          <a:stretch/>
        </p:blipFill>
        <p:spPr>
          <a:xfrm>
            <a:off x="8896146" y="1278319"/>
            <a:ext cx="3113903" cy="3356929"/>
          </a:xfrm>
        </p:spPr>
      </p:pic>
      <p:sp>
        <p:nvSpPr>
          <p:cNvPr id="29" name="Titel 1">
            <a:extLst>
              <a:ext uri="{FF2B5EF4-FFF2-40B4-BE49-F238E27FC236}">
                <a16:creationId xmlns:a16="http://schemas.microsoft.com/office/drawing/2014/main" id="{BDA9AE89-A52E-448C-A067-1A0A246F30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 vert="horz"/>
          <a:lstStyle/>
          <a:p>
            <a:r>
              <a:rPr lang="de-CH" sz="2000" dirty="0"/>
              <a:t>Ablauf - Toni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5B9C7CE-74C4-42A1-B165-5E329911BB06}"/>
              </a:ext>
            </a:extLst>
          </p:cNvPr>
          <p:cNvSpPr txBox="1"/>
          <p:nvPr/>
        </p:nvSpPr>
        <p:spPr>
          <a:xfrm>
            <a:off x="453210" y="1278319"/>
            <a:ext cx="581905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 algn="l">
              <a:buFont typeface="Symbol" panose="05050102010706020507" pitchFamily="18" charset="2"/>
              <a:buChar char="-"/>
            </a:pPr>
            <a:r>
              <a:rPr lang="de-DE" dirty="0"/>
              <a:t>Entscheidet sich mit zu Spielen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408AC22C-F328-4F98-AF0C-675136170DB3}"/>
              </a:ext>
            </a:extLst>
          </p:cNvPr>
          <p:cNvSpPr txBox="1"/>
          <p:nvPr/>
        </p:nvSpPr>
        <p:spPr>
          <a:xfrm>
            <a:off x="10348372" y="4783160"/>
            <a:ext cx="9144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CH" dirty="0"/>
              <a:t>Toni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E968932E-DE83-47EB-A188-0C40C38E80FF}"/>
              </a:ext>
            </a:extLst>
          </p:cNvPr>
          <p:cNvSpPr txBox="1"/>
          <p:nvPr/>
        </p:nvSpPr>
        <p:spPr>
          <a:xfrm>
            <a:off x="453209" y="1970812"/>
            <a:ext cx="581905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dirty="0">
                <a:sym typeface="Wingdings" panose="05000000000000000000" pitchFamily="2" charset="2"/>
              </a:rPr>
              <a:t> </a:t>
            </a:r>
            <a:r>
              <a:rPr lang="de-DE" dirty="0"/>
              <a:t>Loggt sich ein oder registriert sich neu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AB28564B-2C5C-4EEB-BC4D-73CB9EB970FB}"/>
              </a:ext>
            </a:extLst>
          </p:cNvPr>
          <p:cNvSpPr txBox="1"/>
          <p:nvPr/>
        </p:nvSpPr>
        <p:spPr>
          <a:xfrm>
            <a:off x="410400" y="2953871"/>
            <a:ext cx="678633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CH" dirty="0"/>
              <a:t>Email Adresse (darf nur einmal verwendet werden)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CH" dirty="0"/>
              <a:t>Passwort (mindestens 8 Zeichen lang)</a:t>
            </a:r>
          </a:p>
        </p:txBody>
      </p:sp>
    </p:spTree>
    <p:extLst>
      <p:ext uri="{BB962C8B-B14F-4D97-AF65-F5344CB8AC3E}">
        <p14:creationId xmlns:p14="http://schemas.microsoft.com/office/powerpoint/2010/main" val="40295951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F36C4FC-B2F6-4567-88A6-7A9D415D399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Intern | © Siemens 2021 | Lara Felix | SMO RC-CH RI PE 3 2 | 13.12.2021</a:t>
            </a:r>
          </a:p>
        </p:txBody>
      </p:sp>
      <p:pic>
        <p:nvPicPr>
          <p:cNvPr id="16" name="Inhaltsplatzhalter 15">
            <a:extLst>
              <a:ext uri="{FF2B5EF4-FFF2-40B4-BE49-F238E27FC236}">
                <a16:creationId xmlns:a16="http://schemas.microsoft.com/office/drawing/2014/main" id="{6F8606DD-C274-4129-B727-E87E54A4EC3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8510" t="64873" r="65734" b="7361"/>
          <a:stretch/>
        </p:blipFill>
        <p:spPr>
          <a:xfrm>
            <a:off x="8896146" y="1278319"/>
            <a:ext cx="3113903" cy="3356929"/>
          </a:xfrm>
        </p:spPr>
      </p:pic>
      <p:sp>
        <p:nvSpPr>
          <p:cNvPr id="29" name="Titel 1">
            <a:extLst>
              <a:ext uri="{FF2B5EF4-FFF2-40B4-BE49-F238E27FC236}">
                <a16:creationId xmlns:a16="http://schemas.microsoft.com/office/drawing/2014/main" id="{BDA9AE89-A52E-448C-A067-1A0A246F30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 vert="horz"/>
          <a:lstStyle/>
          <a:p>
            <a:r>
              <a:rPr lang="de-CH" sz="2000" dirty="0"/>
              <a:t>Ablauf - Toni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5B9C7CE-74C4-42A1-B165-5E329911BB06}"/>
              </a:ext>
            </a:extLst>
          </p:cNvPr>
          <p:cNvSpPr txBox="1"/>
          <p:nvPr/>
        </p:nvSpPr>
        <p:spPr>
          <a:xfrm>
            <a:off x="453210" y="1278319"/>
            <a:ext cx="581905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 algn="l">
              <a:buFont typeface="Symbol" panose="05050102010706020507" pitchFamily="18" charset="2"/>
              <a:buChar char="-"/>
            </a:pPr>
            <a:r>
              <a:rPr lang="de-DE" dirty="0"/>
              <a:t>Startet die Geschichte und schreibt zwei Sätze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408AC22C-F328-4F98-AF0C-675136170DB3}"/>
              </a:ext>
            </a:extLst>
          </p:cNvPr>
          <p:cNvSpPr txBox="1"/>
          <p:nvPr/>
        </p:nvSpPr>
        <p:spPr>
          <a:xfrm>
            <a:off x="10348372" y="4783160"/>
            <a:ext cx="9144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CH" dirty="0"/>
              <a:t>Toni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E968932E-DE83-47EB-A188-0C40C38E80FF}"/>
              </a:ext>
            </a:extLst>
          </p:cNvPr>
          <p:cNvSpPr txBox="1"/>
          <p:nvPr/>
        </p:nvSpPr>
        <p:spPr>
          <a:xfrm>
            <a:off x="453209" y="1970812"/>
            <a:ext cx="949645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dirty="0">
                <a:sym typeface="Wingdings" panose="05000000000000000000" pitchFamily="2" charset="2"/>
              </a:rPr>
              <a:t> </a:t>
            </a:r>
            <a:r>
              <a:rPr lang="de-DE" dirty="0"/>
              <a:t>Gibt in den vorgesehenen Felder zwei Sätze ein und beginnt so die Geschichte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AB28564B-2C5C-4EEB-BC4D-73CB9EB970FB}"/>
              </a:ext>
            </a:extLst>
          </p:cNvPr>
          <p:cNvSpPr txBox="1"/>
          <p:nvPr/>
        </p:nvSpPr>
        <p:spPr>
          <a:xfrm>
            <a:off x="410400" y="2953871"/>
            <a:ext cx="6786331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CH" dirty="0"/>
              <a:t>Information, dass er die Geschichte beginnt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/>
              <a:t>Max. 25 Zeichen, Buchstabe, Zahlen, Sonderzeichen (. , ! ? -)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/>
              <a:t>Beide Felder müssen ausgefüllt werden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/>
              <a:t>Hat 2 min zum Ausfüllen</a:t>
            </a:r>
          </a:p>
        </p:txBody>
      </p:sp>
    </p:spTree>
    <p:extLst>
      <p:ext uri="{BB962C8B-B14F-4D97-AF65-F5344CB8AC3E}">
        <p14:creationId xmlns:p14="http://schemas.microsoft.com/office/powerpoint/2010/main" val="370003811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F36C4FC-B2F6-4567-88A6-7A9D415D399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Intern | © Siemens 2021 | Lara Felix | SMO RC-CH RI PE 3 2 | 13.12.2021</a:t>
            </a:r>
          </a:p>
        </p:txBody>
      </p:sp>
      <p:pic>
        <p:nvPicPr>
          <p:cNvPr id="16" name="Inhaltsplatzhalter 15">
            <a:extLst>
              <a:ext uri="{FF2B5EF4-FFF2-40B4-BE49-F238E27FC236}">
                <a16:creationId xmlns:a16="http://schemas.microsoft.com/office/drawing/2014/main" id="{6F8606DD-C274-4129-B727-E87E54A4EC3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8510" t="64873" r="65734" b="7361"/>
          <a:stretch/>
        </p:blipFill>
        <p:spPr>
          <a:xfrm>
            <a:off x="8896146" y="1278319"/>
            <a:ext cx="3113903" cy="3356929"/>
          </a:xfrm>
        </p:spPr>
      </p:pic>
      <p:sp>
        <p:nvSpPr>
          <p:cNvPr id="29" name="Titel 1">
            <a:extLst>
              <a:ext uri="{FF2B5EF4-FFF2-40B4-BE49-F238E27FC236}">
                <a16:creationId xmlns:a16="http://schemas.microsoft.com/office/drawing/2014/main" id="{BDA9AE89-A52E-448C-A067-1A0A246F30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 vert="horz"/>
          <a:lstStyle/>
          <a:p>
            <a:r>
              <a:rPr lang="de-CH" sz="2000" dirty="0"/>
              <a:t>Ablauf - Toni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5B9C7CE-74C4-42A1-B165-5E329911BB06}"/>
              </a:ext>
            </a:extLst>
          </p:cNvPr>
          <p:cNvSpPr txBox="1"/>
          <p:nvPr/>
        </p:nvSpPr>
        <p:spPr>
          <a:xfrm>
            <a:off x="410400" y="1202284"/>
            <a:ext cx="581905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 algn="l">
              <a:buFont typeface="Symbol" panose="05050102010706020507" pitchFamily="18" charset="2"/>
              <a:buChar char="-"/>
            </a:pPr>
            <a:r>
              <a:rPr lang="de-DE" dirty="0"/>
              <a:t>Faltet den ersten Satz um</a:t>
            </a:r>
          </a:p>
          <a:p>
            <a:pPr marL="342900" indent="-342900" algn="l">
              <a:buFont typeface="Symbol" panose="05050102010706020507" pitchFamily="18" charset="2"/>
              <a:buChar char="-"/>
            </a:pPr>
            <a:r>
              <a:rPr lang="de-DE" dirty="0"/>
              <a:t>Gibt das Blatt weiter und wartet bis er wieder dran ist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408AC22C-F328-4F98-AF0C-675136170DB3}"/>
              </a:ext>
            </a:extLst>
          </p:cNvPr>
          <p:cNvSpPr txBox="1"/>
          <p:nvPr/>
        </p:nvSpPr>
        <p:spPr>
          <a:xfrm>
            <a:off x="10348372" y="4783160"/>
            <a:ext cx="9144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CH" dirty="0"/>
              <a:t>Toni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E968932E-DE83-47EB-A188-0C40C38E80FF}"/>
              </a:ext>
            </a:extLst>
          </p:cNvPr>
          <p:cNvSpPr txBox="1"/>
          <p:nvPr/>
        </p:nvSpPr>
        <p:spPr>
          <a:xfrm>
            <a:off x="453209" y="1970812"/>
            <a:ext cx="9496452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Wingdings" panose="05000000000000000000" pitchFamily="2" charset="2"/>
              <a:buChar char="à"/>
            </a:pPr>
            <a:r>
              <a:rPr lang="de-DE" dirty="0">
                <a:sym typeface="Wingdings" panose="05000000000000000000" pitchFamily="2" charset="2"/>
              </a:rPr>
              <a:t>Sendet seine Sätze mittels Button ab</a:t>
            </a:r>
          </a:p>
          <a:p>
            <a:pPr marL="285750" indent="-285750" algn="l">
              <a:buFont typeface="Wingdings" panose="05000000000000000000" pitchFamily="2" charset="2"/>
              <a:buChar char="à"/>
            </a:pPr>
            <a:r>
              <a:rPr lang="de-DE" dirty="0">
                <a:sym typeface="Wingdings" panose="05000000000000000000" pitchFamily="2" charset="2"/>
              </a:rPr>
              <a:t>Wartet 2h bis er wieder dran ist</a:t>
            </a:r>
          </a:p>
          <a:p>
            <a:pPr algn="l"/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AB28564B-2C5C-4EEB-BC4D-73CB9EB970FB}"/>
              </a:ext>
            </a:extLst>
          </p:cNvPr>
          <p:cNvSpPr txBox="1"/>
          <p:nvPr/>
        </p:nvSpPr>
        <p:spPr>
          <a:xfrm>
            <a:off x="410400" y="2953871"/>
            <a:ext cx="678633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CH" dirty="0"/>
              <a:t>Kann die aktuelle Geschichte herunterladen</a:t>
            </a:r>
          </a:p>
        </p:txBody>
      </p:sp>
    </p:spTree>
    <p:extLst>
      <p:ext uri="{BB962C8B-B14F-4D97-AF65-F5344CB8AC3E}">
        <p14:creationId xmlns:p14="http://schemas.microsoft.com/office/powerpoint/2010/main" val="6133552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F36C4FC-B2F6-4567-88A6-7A9D415D399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Intern | © Siemens 2021 | Lara Felix | SMO RC-CH RI PE 3 2 | 13.12.2021</a:t>
            </a:r>
          </a:p>
        </p:txBody>
      </p:sp>
      <p:sp>
        <p:nvSpPr>
          <p:cNvPr id="29" name="Titel 1">
            <a:extLst>
              <a:ext uri="{FF2B5EF4-FFF2-40B4-BE49-F238E27FC236}">
                <a16:creationId xmlns:a16="http://schemas.microsoft.com/office/drawing/2014/main" id="{BDA9AE89-A52E-448C-A067-1A0A246F30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 vert="horz"/>
          <a:lstStyle/>
          <a:p>
            <a:r>
              <a:rPr lang="de-CH" sz="2000" dirty="0"/>
              <a:t>Ablauf - Mara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5B9C7CE-74C4-42A1-B165-5E329911BB06}"/>
              </a:ext>
            </a:extLst>
          </p:cNvPr>
          <p:cNvSpPr txBox="1"/>
          <p:nvPr/>
        </p:nvSpPr>
        <p:spPr>
          <a:xfrm>
            <a:off x="276947" y="2484338"/>
            <a:ext cx="5819053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 algn="l">
              <a:buFont typeface="Symbol" panose="05050102010706020507" pitchFamily="18" charset="2"/>
              <a:buChar char="-"/>
            </a:pPr>
            <a:r>
              <a:rPr lang="de-DE" dirty="0"/>
              <a:t>Entscheidet sich mit zu Spielen</a:t>
            </a:r>
          </a:p>
          <a:p>
            <a:pPr marL="342900" indent="-342900" algn="l">
              <a:buFont typeface="Symbol" panose="05050102010706020507" pitchFamily="18" charset="2"/>
              <a:buChar char="-"/>
            </a:pPr>
            <a:r>
              <a:rPr lang="de-DE" dirty="0"/>
              <a:t>Sieht den letzten Satz</a:t>
            </a:r>
          </a:p>
          <a:p>
            <a:pPr marL="342900" indent="-342900" algn="l">
              <a:buFont typeface="Symbol" panose="05050102010706020507" pitchFamily="18" charset="2"/>
              <a:buChar char="-"/>
            </a:pPr>
            <a:r>
              <a:rPr lang="de-DE" dirty="0"/>
              <a:t>Erweitert die Geschichte um zwei Sätze</a:t>
            </a:r>
          </a:p>
          <a:p>
            <a:pPr marL="342900" indent="-342900" algn="l">
              <a:buFont typeface="Symbol" panose="05050102010706020507" pitchFamily="18" charset="2"/>
              <a:buChar char="-"/>
            </a:pPr>
            <a:r>
              <a:rPr lang="de-DE" dirty="0"/>
              <a:t>Faltet den ersten Satz um</a:t>
            </a:r>
          </a:p>
          <a:p>
            <a:pPr marL="342900" indent="-342900" algn="l">
              <a:buFont typeface="Symbol" panose="05050102010706020507" pitchFamily="18" charset="2"/>
              <a:buChar char="-"/>
            </a:pPr>
            <a:r>
              <a:rPr lang="de-DE" dirty="0"/>
              <a:t>Gibt das Blatt weiter und wartet bis er wieder dran ist.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408AC22C-F328-4F98-AF0C-675136170DB3}"/>
              </a:ext>
            </a:extLst>
          </p:cNvPr>
          <p:cNvSpPr txBox="1"/>
          <p:nvPr/>
        </p:nvSpPr>
        <p:spPr>
          <a:xfrm>
            <a:off x="9498227" y="4087136"/>
            <a:ext cx="9144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CH" dirty="0"/>
              <a:t>Mara</a:t>
            </a:r>
          </a:p>
        </p:txBody>
      </p:sp>
      <p:pic>
        <p:nvPicPr>
          <p:cNvPr id="10" name="Inhaltsplatzhalter 15">
            <a:extLst>
              <a:ext uri="{FF2B5EF4-FFF2-40B4-BE49-F238E27FC236}">
                <a16:creationId xmlns:a16="http://schemas.microsoft.com/office/drawing/2014/main" id="{29ED26BC-308E-432A-B27D-634D3DD2742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6336" t="63751" r="34318" b="8483"/>
          <a:stretch/>
        </p:blipFill>
        <p:spPr>
          <a:xfrm>
            <a:off x="8180172" y="922573"/>
            <a:ext cx="3344608" cy="3164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172891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F36C4FC-B2F6-4567-88A6-7A9D415D399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Intern | © Siemens 2021 | Lara Felix | SMO RC-CH RI PE 3 2 | 13.12.2021</a:t>
            </a:r>
          </a:p>
        </p:txBody>
      </p:sp>
      <p:sp>
        <p:nvSpPr>
          <p:cNvPr id="29" name="Titel 1">
            <a:extLst>
              <a:ext uri="{FF2B5EF4-FFF2-40B4-BE49-F238E27FC236}">
                <a16:creationId xmlns:a16="http://schemas.microsoft.com/office/drawing/2014/main" id="{BDA9AE89-A52E-448C-A067-1A0A246F30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 vert="horz"/>
          <a:lstStyle/>
          <a:p>
            <a:r>
              <a:rPr lang="de-CH" sz="2000" dirty="0"/>
              <a:t>Ablauf - Mara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5B9C7CE-74C4-42A1-B165-5E329911BB06}"/>
              </a:ext>
            </a:extLst>
          </p:cNvPr>
          <p:cNvSpPr txBox="1"/>
          <p:nvPr/>
        </p:nvSpPr>
        <p:spPr>
          <a:xfrm>
            <a:off x="410400" y="1202284"/>
            <a:ext cx="581905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 algn="l">
              <a:buFont typeface="Symbol" panose="05050102010706020507" pitchFamily="18" charset="2"/>
              <a:buChar char="-"/>
            </a:pPr>
            <a:r>
              <a:rPr lang="de-DE" dirty="0"/>
              <a:t>Sieht den letzten Satz</a:t>
            </a:r>
          </a:p>
          <a:p>
            <a:pPr marL="342900" indent="-342900" algn="l">
              <a:buFont typeface="Symbol" panose="05050102010706020507" pitchFamily="18" charset="2"/>
              <a:buChar char="-"/>
            </a:pPr>
            <a:r>
              <a:rPr lang="de-DE" dirty="0"/>
              <a:t>Erweitert die Geschichte um zwei Sätze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8152DDB-E21F-47D6-B857-15A18626505E}"/>
              </a:ext>
            </a:extLst>
          </p:cNvPr>
          <p:cNvSpPr txBox="1"/>
          <p:nvPr/>
        </p:nvSpPr>
        <p:spPr>
          <a:xfrm>
            <a:off x="9817960" y="4417805"/>
            <a:ext cx="9144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CH" dirty="0"/>
              <a:t>Mara</a:t>
            </a:r>
          </a:p>
        </p:txBody>
      </p:sp>
      <p:pic>
        <p:nvPicPr>
          <p:cNvPr id="10" name="Inhaltsplatzhalter 15">
            <a:extLst>
              <a:ext uri="{FF2B5EF4-FFF2-40B4-BE49-F238E27FC236}">
                <a16:creationId xmlns:a16="http://schemas.microsoft.com/office/drawing/2014/main" id="{65A076F4-D6CF-4F85-8870-5670EB41955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6336" t="63751" r="34318" b="8483"/>
          <a:stretch/>
        </p:blipFill>
        <p:spPr>
          <a:xfrm>
            <a:off x="8509686" y="1058085"/>
            <a:ext cx="3344608" cy="3164563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8AFDC395-1D45-4A81-B417-D2007E2FF818}"/>
              </a:ext>
            </a:extLst>
          </p:cNvPr>
          <p:cNvSpPr txBox="1"/>
          <p:nvPr/>
        </p:nvSpPr>
        <p:spPr>
          <a:xfrm>
            <a:off x="453209" y="1970812"/>
            <a:ext cx="949645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dirty="0">
                <a:sym typeface="Wingdings" panose="05000000000000000000" pitchFamily="2" charset="2"/>
              </a:rPr>
              <a:t> Sieht den letzten Satz</a:t>
            </a:r>
          </a:p>
          <a:p>
            <a:pPr algn="l"/>
            <a:r>
              <a:rPr lang="de-DE" dirty="0">
                <a:sym typeface="Wingdings" panose="05000000000000000000" pitchFamily="2" charset="2"/>
              </a:rPr>
              <a:t> </a:t>
            </a:r>
            <a:r>
              <a:rPr lang="de-DE" dirty="0"/>
              <a:t>Gibt aufgrund des letzten Satzes in den vorgesehenen Felder zwei Sätze ein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9A8D254E-6517-4B20-8ABF-E4977A421B35}"/>
              </a:ext>
            </a:extLst>
          </p:cNvPr>
          <p:cNvSpPr txBox="1"/>
          <p:nvPr/>
        </p:nvSpPr>
        <p:spPr>
          <a:xfrm>
            <a:off x="410400" y="3290436"/>
            <a:ext cx="6786331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CH" dirty="0"/>
              <a:t>Information, dass er die Geschichte beginnt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/>
              <a:t>Max. 25 Zeichen, Buchstabe, Zahlen, Sonderzeichen (. , ! ? -)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/>
              <a:t>Beide Felder müssen ausgefüllt werden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/>
              <a:t>Hat 2 min zum Ausfüllen</a:t>
            </a:r>
          </a:p>
        </p:txBody>
      </p:sp>
    </p:spTree>
    <p:extLst>
      <p:ext uri="{BB962C8B-B14F-4D97-AF65-F5344CB8AC3E}">
        <p14:creationId xmlns:p14="http://schemas.microsoft.com/office/powerpoint/2010/main" val="66111772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F36C4FC-B2F6-4567-88A6-7A9D415D399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Intern | © Siemens 2021 | Lara Felix | SMO RC-CH RI PE 3 2 | 13.12.2021</a:t>
            </a:r>
          </a:p>
        </p:txBody>
      </p:sp>
      <p:sp>
        <p:nvSpPr>
          <p:cNvPr id="29" name="Titel 1">
            <a:extLst>
              <a:ext uri="{FF2B5EF4-FFF2-40B4-BE49-F238E27FC236}">
                <a16:creationId xmlns:a16="http://schemas.microsoft.com/office/drawing/2014/main" id="{BDA9AE89-A52E-448C-A067-1A0A246F30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 vert="horz"/>
          <a:lstStyle/>
          <a:p>
            <a:r>
              <a:rPr lang="de-CH" sz="2000" dirty="0"/>
              <a:t>Ablauf - Isabell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5B9C7CE-74C4-42A1-B165-5E329911BB06}"/>
              </a:ext>
            </a:extLst>
          </p:cNvPr>
          <p:cNvSpPr txBox="1"/>
          <p:nvPr/>
        </p:nvSpPr>
        <p:spPr>
          <a:xfrm>
            <a:off x="276947" y="2484338"/>
            <a:ext cx="6514327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 algn="l">
              <a:buFont typeface="Symbol" panose="05050102010706020507" pitchFamily="18" charset="2"/>
              <a:buChar char="-"/>
            </a:pPr>
            <a:r>
              <a:rPr lang="de-DE" dirty="0"/>
              <a:t>Entscheidet sich mit zu Spielen</a:t>
            </a:r>
          </a:p>
          <a:p>
            <a:pPr marL="342900" indent="-342900" algn="l">
              <a:buFont typeface="Symbol" panose="05050102010706020507" pitchFamily="18" charset="2"/>
              <a:buChar char="-"/>
            </a:pPr>
            <a:r>
              <a:rPr lang="de-DE" dirty="0"/>
              <a:t>Startet die Geschichte oder erweitert sie und schreibt zwei Sätze</a:t>
            </a:r>
          </a:p>
          <a:p>
            <a:pPr marL="342900" indent="-342900" algn="l">
              <a:buFont typeface="Symbol" panose="05050102010706020507" pitchFamily="18" charset="2"/>
              <a:buChar char="-"/>
            </a:pPr>
            <a:r>
              <a:rPr lang="de-DE" dirty="0"/>
              <a:t>Faltet den ersten Satz um</a:t>
            </a:r>
          </a:p>
          <a:p>
            <a:pPr marL="342900" indent="-342900" algn="l">
              <a:buFont typeface="Symbol" panose="05050102010706020507" pitchFamily="18" charset="2"/>
              <a:buChar char="-"/>
            </a:pPr>
            <a:r>
              <a:rPr lang="de-DE" dirty="0"/>
              <a:t>Gibt das Blatt weiter und wartet bis sie wieder dran ist.</a:t>
            </a:r>
          </a:p>
          <a:p>
            <a:pPr marL="342900" indent="-342900" algn="l">
              <a:buFont typeface="Symbol" panose="05050102010706020507" pitchFamily="18" charset="2"/>
              <a:buChar char="-"/>
            </a:pPr>
            <a:r>
              <a:rPr lang="de-DE" b="1" dirty="0"/>
              <a:t>Weiss wer was geschrieben hat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408AC22C-F328-4F98-AF0C-675136170DB3}"/>
              </a:ext>
            </a:extLst>
          </p:cNvPr>
          <p:cNvSpPr txBox="1"/>
          <p:nvPr/>
        </p:nvSpPr>
        <p:spPr>
          <a:xfrm>
            <a:off x="9537499" y="5055009"/>
            <a:ext cx="9144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CH" dirty="0"/>
              <a:t>Isabell</a:t>
            </a:r>
          </a:p>
        </p:txBody>
      </p:sp>
      <p:pic>
        <p:nvPicPr>
          <p:cNvPr id="7" name="Grafik 6" descr="Ein Bild, das Text enthält.&#10;&#10;Automatisch generierte Beschreibung">
            <a:extLst>
              <a:ext uri="{FF2B5EF4-FFF2-40B4-BE49-F238E27FC236}">
                <a16:creationId xmlns:a16="http://schemas.microsoft.com/office/drawing/2014/main" id="{1781124A-ED7B-4842-9E10-3C18B392DC2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rcRect l="40561" r="40374"/>
          <a:stretch/>
        </p:blipFill>
        <p:spPr>
          <a:xfrm>
            <a:off x="9203580" y="941118"/>
            <a:ext cx="1248319" cy="4448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3438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F36C4FC-B2F6-4567-88A6-7A9D415D399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Intern | © Siemens 2021 | Lara Felix | SMO RC-CH RI PE 3 2 | 13.12.2021</a:t>
            </a:r>
          </a:p>
        </p:txBody>
      </p:sp>
      <p:sp>
        <p:nvSpPr>
          <p:cNvPr id="29" name="Titel 1">
            <a:extLst>
              <a:ext uri="{FF2B5EF4-FFF2-40B4-BE49-F238E27FC236}">
                <a16:creationId xmlns:a16="http://schemas.microsoft.com/office/drawing/2014/main" id="{BDA9AE89-A52E-448C-A067-1A0A246F30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 vert="horz"/>
          <a:lstStyle/>
          <a:p>
            <a:r>
              <a:rPr lang="de-CH" sz="2000" dirty="0"/>
              <a:t>Ablauf - Mara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5B9C7CE-74C4-42A1-B165-5E329911BB06}"/>
              </a:ext>
            </a:extLst>
          </p:cNvPr>
          <p:cNvSpPr txBox="1"/>
          <p:nvPr/>
        </p:nvSpPr>
        <p:spPr>
          <a:xfrm>
            <a:off x="351087" y="1205186"/>
            <a:ext cx="581905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 algn="l">
              <a:buFont typeface="Symbol" panose="05050102010706020507" pitchFamily="18" charset="2"/>
              <a:buChar char="-"/>
            </a:pPr>
            <a:r>
              <a:rPr lang="de-DE" dirty="0"/>
              <a:t>Weiss wer was geschrieben hat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8152DDB-E21F-47D6-B857-15A18626505E}"/>
              </a:ext>
            </a:extLst>
          </p:cNvPr>
          <p:cNvSpPr txBox="1"/>
          <p:nvPr/>
        </p:nvSpPr>
        <p:spPr>
          <a:xfrm>
            <a:off x="9817960" y="4417805"/>
            <a:ext cx="9144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CH" dirty="0"/>
              <a:t>Isabell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8AFDC395-1D45-4A81-B417-D2007E2FF818}"/>
              </a:ext>
            </a:extLst>
          </p:cNvPr>
          <p:cNvSpPr txBox="1"/>
          <p:nvPr/>
        </p:nvSpPr>
        <p:spPr>
          <a:xfrm>
            <a:off x="453209" y="1970812"/>
            <a:ext cx="949645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dirty="0">
                <a:sym typeface="Wingdings" panose="05000000000000000000" pitchFamily="2" charset="2"/>
              </a:rPr>
              <a:t> Bei der Heruntergeladenen Geschichte steht die Mail des Erfassers der Storyline</a:t>
            </a:r>
            <a:endParaRPr lang="de-DE" dirty="0"/>
          </a:p>
        </p:txBody>
      </p:sp>
      <p:pic>
        <p:nvPicPr>
          <p:cNvPr id="11" name="Grafik 10" descr="Ein Bild, das Text enthält.&#10;&#10;Automatisch generierte Beschreibung">
            <a:extLst>
              <a:ext uri="{FF2B5EF4-FFF2-40B4-BE49-F238E27FC236}">
                <a16:creationId xmlns:a16="http://schemas.microsoft.com/office/drawing/2014/main" id="{9E02FE93-1666-4A9C-864D-E5413359EEC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rcRect l="40561" r="40374"/>
          <a:stretch/>
        </p:blipFill>
        <p:spPr>
          <a:xfrm>
            <a:off x="9484041" y="417191"/>
            <a:ext cx="1248319" cy="4336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938845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F36C4FC-B2F6-4567-88A6-7A9D415D399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Intern | © Siemens 2021 | Lara Felix | SMO RC-CH RI PE 3 2 | 13.12.2021</a:t>
            </a:r>
          </a:p>
        </p:txBody>
      </p:sp>
      <p:sp>
        <p:nvSpPr>
          <p:cNvPr id="29" name="Titel 1">
            <a:extLst>
              <a:ext uri="{FF2B5EF4-FFF2-40B4-BE49-F238E27FC236}">
                <a16:creationId xmlns:a16="http://schemas.microsoft.com/office/drawing/2014/main" id="{BDA9AE89-A52E-448C-A067-1A0A246F30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 vert="horz"/>
          <a:lstStyle/>
          <a:p>
            <a:r>
              <a:rPr lang="de-CH" sz="2000" dirty="0"/>
              <a:t>Sprache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8AFDC395-1D45-4A81-B417-D2007E2FF818}"/>
              </a:ext>
            </a:extLst>
          </p:cNvPr>
          <p:cNvSpPr txBox="1"/>
          <p:nvPr/>
        </p:nvSpPr>
        <p:spPr>
          <a:xfrm>
            <a:off x="677162" y="4190085"/>
            <a:ext cx="1127582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Wingdings" panose="05000000000000000000" pitchFamily="2" charset="2"/>
              <a:buChar char="à"/>
            </a:pPr>
            <a:r>
              <a:rPr lang="de-DE" dirty="0">
                <a:sym typeface="Wingdings" panose="05000000000000000000" pitchFamily="2" charset="2"/>
              </a:rPr>
              <a:t>SQ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CH" b="0" i="0" dirty="0">
                <a:solidFill>
                  <a:srgbClr val="4A4A4A"/>
                </a:solidFill>
                <a:effectLst/>
                <a:latin typeface="Nunito Sans" panose="020B0604020202020204" pitchFamily="2" charset="0"/>
              </a:rPr>
              <a:t>Verwaltung relationaler Datenbanken</a:t>
            </a:r>
            <a:endParaRPr lang="de-D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29C44CA-A9F1-4E1C-A3AF-38EA3C0668C8}"/>
              </a:ext>
            </a:extLst>
          </p:cNvPr>
          <p:cNvSpPr txBox="1"/>
          <p:nvPr/>
        </p:nvSpPr>
        <p:spPr>
          <a:xfrm>
            <a:off x="744004" y="2286321"/>
            <a:ext cx="11275825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Wingdings" panose="05000000000000000000" pitchFamily="2" charset="2"/>
              <a:buChar char="à"/>
            </a:pPr>
            <a:r>
              <a:rPr lang="de-DE" dirty="0">
                <a:sym typeface="Wingdings" panose="05000000000000000000" pitchFamily="2" charset="2"/>
              </a:rPr>
              <a:t>Jav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CH" b="0" i="0" dirty="0">
                <a:solidFill>
                  <a:srgbClr val="4A4A4A"/>
                </a:solidFill>
                <a:effectLst/>
                <a:latin typeface="Nunito Sans" panose="020B0604020202020204" pitchFamily="2" charset="0"/>
              </a:rPr>
              <a:t>Objektorientierte</a:t>
            </a:r>
            <a:r>
              <a:rPr lang="de-DE" b="0" i="0" dirty="0">
                <a:solidFill>
                  <a:srgbClr val="4A4A4A"/>
                </a:solidFill>
                <a:effectLst/>
                <a:latin typeface="Nunito Sans" panose="020B0604020202020204" pitchFamily="2" charset="0"/>
                <a:sym typeface="Wingdings" panose="05000000000000000000" pitchFamily="2" charset="2"/>
              </a:rPr>
              <a:t> Programmiersprach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/>
              <a:t>Abstract </a:t>
            </a:r>
            <a:r>
              <a:rPr lang="de-DE" dirty="0" err="1"/>
              <a:t>Windowing</a:t>
            </a:r>
            <a:r>
              <a:rPr lang="de-DE" dirty="0"/>
              <a:t> Toolkit (AWT)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de-DE" dirty="0"/>
              <a:t>Darstellung elementarer Grafik und Fensterfunktione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/>
              <a:t>Swing </a:t>
            </a:r>
            <a:r>
              <a:rPr lang="de-DE" dirty="0" err="1"/>
              <a:t>Toolset</a:t>
            </a:r>
            <a:endParaRPr lang="de-DE" dirty="0"/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de-DE" dirty="0"/>
              <a:t>Darstellung komplexer grafischer Benutzeroberflächen.</a:t>
            </a:r>
          </a:p>
        </p:txBody>
      </p:sp>
    </p:spTree>
    <p:extLst>
      <p:ext uri="{BB962C8B-B14F-4D97-AF65-F5344CB8AC3E}">
        <p14:creationId xmlns:p14="http://schemas.microsoft.com/office/powerpoint/2010/main" val="50642789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C344B91-4EDB-4AC1-9DD0-BD607A12B0F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2" name="think-cell Folie" r:id="rId4" imgW="333" imgH="333" progId="TCLayout.ActiveDocument.1">
                  <p:embed/>
                </p:oleObj>
              </mc:Choice>
              <mc:Fallback>
                <p:oleObj name="think-cell Folie" r:id="rId4" imgW="333" imgH="33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C344B91-4EDB-4AC1-9DD0-BD607A12B0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A891B444-7C6F-48AC-913F-8E9FB073EF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sz="3200" dirty="0"/>
              <a:t>Ziel und ihre Umsetzung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64286C61-E739-4D70-A827-17857AED00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0400" y="1320889"/>
            <a:ext cx="11351347" cy="4752000"/>
          </a:xfrm>
        </p:spPr>
        <p:txBody>
          <a:bodyPr/>
          <a:lstStyle/>
          <a:p>
            <a:pPr marL="342900" indent="-342900"/>
            <a:endParaRPr lang="de-CH" dirty="0"/>
          </a:p>
          <a:p>
            <a:pPr marL="522900" lvl="1" indent="-342900"/>
            <a:endParaRPr lang="de-CH" dirty="0"/>
          </a:p>
          <a:p>
            <a:pPr marL="522900" lvl="1" indent="-342900"/>
            <a:endParaRPr lang="de-CH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C77D67-EA9A-4B36-9F37-98C74BF92F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41046" y="6253200"/>
            <a:ext cx="9454672" cy="547200"/>
          </a:xfrm>
        </p:spPr>
        <p:txBody>
          <a:bodyPr/>
          <a:lstStyle/>
          <a:p>
            <a:r>
              <a:rPr lang="de-DE" dirty="0"/>
              <a:t>Intern | © Siemens 2021 | Lara Felix | SMO RC-CH RI PE 3 2 | 13.12.2021</a:t>
            </a:r>
          </a:p>
        </p:txBody>
      </p:sp>
      <p:sp>
        <p:nvSpPr>
          <p:cNvPr id="2" name="Pfeil: nach rechts 1">
            <a:extLst>
              <a:ext uri="{FF2B5EF4-FFF2-40B4-BE49-F238E27FC236}">
                <a16:creationId xmlns:a16="http://schemas.microsoft.com/office/drawing/2014/main" id="{8AEBF20E-FA3A-49FA-A727-F3A3535EFFD6}"/>
              </a:ext>
            </a:extLst>
          </p:cNvPr>
          <p:cNvSpPr/>
          <p:nvPr/>
        </p:nvSpPr>
        <p:spPr>
          <a:xfrm>
            <a:off x="612895" y="1655805"/>
            <a:ext cx="1294988" cy="341047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de-CH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B71023AB-6BC4-4127-80C9-58C99499F8F1}"/>
              </a:ext>
            </a:extLst>
          </p:cNvPr>
          <p:cNvSpPr txBox="1"/>
          <p:nvPr/>
        </p:nvSpPr>
        <p:spPr>
          <a:xfrm>
            <a:off x="1962253" y="1610884"/>
            <a:ext cx="535789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CH" sz="2800" b="1" dirty="0"/>
              <a:t>Multiuser Applikation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13ECC6FC-D6C6-4AD3-B719-431B93FD888D}"/>
              </a:ext>
            </a:extLst>
          </p:cNvPr>
          <p:cNvSpPr txBox="1"/>
          <p:nvPr/>
        </p:nvSpPr>
        <p:spPr>
          <a:xfrm>
            <a:off x="6381267" y="2768577"/>
            <a:ext cx="5293397" cy="24929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2400" dirty="0"/>
              <a:t>Java			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2400" dirty="0" err="1"/>
              <a:t>Xampp</a:t>
            </a:r>
            <a:endParaRPr lang="de-DE" sz="240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2400" dirty="0"/>
              <a:t>Alle User schreiben an der gleichen Geschichte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2400" dirty="0"/>
              <a:t>Mehrere User, zwei Verschieden Rollen (Writer und Gamemaster)</a:t>
            </a:r>
          </a:p>
          <a:p>
            <a:pPr algn="l"/>
            <a:endParaRPr lang="de-CH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DEBAFA3D-6316-451A-A7A0-85CCA6484DA0}"/>
              </a:ext>
            </a:extLst>
          </p:cNvPr>
          <p:cNvSpPr txBox="1"/>
          <p:nvPr/>
        </p:nvSpPr>
        <p:spPr>
          <a:xfrm>
            <a:off x="582653" y="2768577"/>
            <a:ext cx="5293397" cy="28623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2400" dirty="0"/>
              <a:t>Objektorientiert			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2400" dirty="0"/>
              <a:t>Zentrale Datenbank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2400" dirty="0"/>
              <a:t>Mehrere Clients müssen gleichzeitig auf den gleichen Datenbestand zugreifen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2400" dirty="0"/>
              <a:t>Zentrale Benutzer- und Rechte-Verwaltung</a:t>
            </a:r>
          </a:p>
          <a:p>
            <a:pPr algn="l"/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5451711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C344B91-4EDB-4AC1-9DD0-BD607A12B0F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" name="think-cell Folie" r:id="rId4" imgW="333" imgH="333" progId="TCLayout.ActiveDocument.1">
                  <p:embed/>
                </p:oleObj>
              </mc:Choice>
              <mc:Fallback>
                <p:oleObj name="think-cell Folie" r:id="rId4" imgW="333" imgH="33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C344B91-4EDB-4AC1-9DD0-BD607A12B0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A891B444-7C6F-48AC-913F-8E9FB073EF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sz="3200" dirty="0"/>
              <a:t>Verbesserung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64286C61-E739-4D70-A827-17857AED00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0400" y="1320889"/>
            <a:ext cx="11351347" cy="4752000"/>
          </a:xfrm>
        </p:spPr>
        <p:txBody>
          <a:bodyPr/>
          <a:lstStyle/>
          <a:p>
            <a:pPr marL="342900" indent="-342900"/>
            <a:endParaRPr lang="de-CH" dirty="0"/>
          </a:p>
          <a:p>
            <a:pPr marL="522900" lvl="1" indent="-342900"/>
            <a:endParaRPr lang="de-CH" dirty="0"/>
          </a:p>
          <a:p>
            <a:pPr marL="522900" lvl="1" indent="-342900"/>
            <a:endParaRPr lang="de-CH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C77D67-EA9A-4B36-9F37-98C74BF92F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41046" y="6253200"/>
            <a:ext cx="9454672" cy="547200"/>
          </a:xfrm>
        </p:spPr>
        <p:txBody>
          <a:bodyPr/>
          <a:lstStyle/>
          <a:p>
            <a:r>
              <a:rPr lang="de-DE" dirty="0"/>
              <a:t>Intern | © Siemens 2021 | Lara Felix | SMO RC-CH RI PE 3 2 | 13.12.2021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DEBAFA3D-6316-451A-A7A0-85CCA6484DA0}"/>
              </a:ext>
            </a:extLst>
          </p:cNvPr>
          <p:cNvSpPr txBox="1"/>
          <p:nvPr/>
        </p:nvSpPr>
        <p:spPr>
          <a:xfrm>
            <a:off x="410400" y="2921168"/>
            <a:ext cx="10676082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2400" dirty="0"/>
              <a:t>Design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2400" dirty="0"/>
              <a:t>Inhalt Dokumentation</a:t>
            </a:r>
          </a:p>
          <a:p>
            <a:pPr algn="l"/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7588267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C344B91-4EDB-4AC1-9DD0-BD607A12B0F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68051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8" name="think-cell Folie" r:id="rId4" imgW="333" imgH="333" progId="TCLayout.ActiveDocument.1">
                  <p:embed/>
                </p:oleObj>
              </mc:Choice>
              <mc:Fallback>
                <p:oleObj name="think-cell Folie" r:id="rId4" imgW="333" imgH="33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C344B91-4EDB-4AC1-9DD0-BD607A12B0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A891B444-7C6F-48AC-913F-8E9FB073EF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sz="3200" dirty="0"/>
              <a:t>Ablauf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64286C61-E739-4D70-A827-17857AED004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sz="2400" dirty="0"/>
              <a:t>Ziel des Projekt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sz="2400" dirty="0"/>
              <a:t>Was ist eine Faltpapier Geschicht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sz="2400" dirty="0"/>
              <a:t>Umsetzung</a:t>
            </a:r>
          </a:p>
          <a:p>
            <a:pPr marL="522900" lvl="1" indent="-342900"/>
            <a:r>
              <a:rPr lang="de-CH" sz="2400" dirty="0"/>
              <a:t>Reallife zur Digitalisierung</a:t>
            </a:r>
          </a:p>
          <a:p>
            <a:pPr marL="522900" lvl="1" indent="-342900"/>
            <a:r>
              <a:rPr lang="de-CH" sz="2400" dirty="0"/>
              <a:t>Sprach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CH" sz="2400" dirty="0"/>
              <a:t>Ziele und ihre Umsetzu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sz="2400" dirty="0"/>
              <a:t>Verbesserungen</a:t>
            </a:r>
          </a:p>
          <a:p>
            <a:pPr marL="342900" indent="-342900"/>
            <a:endParaRPr lang="de-CH" dirty="0"/>
          </a:p>
          <a:p>
            <a:pPr marL="522900" lvl="1" indent="-342900"/>
            <a:endParaRPr lang="de-CH" dirty="0"/>
          </a:p>
          <a:p>
            <a:pPr marL="522900" lvl="1" indent="-342900"/>
            <a:endParaRPr lang="de-CH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C77D67-EA9A-4B36-9F37-98C74BF92F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39817" y="6188734"/>
            <a:ext cx="9216000" cy="547200"/>
          </a:xfrm>
        </p:spPr>
        <p:txBody>
          <a:bodyPr/>
          <a:lstStyle/>
          <a:p>
            <a:r>
              <a:rPr lang="de-DE" dirty="0"/>
              <a:t>Intern | © Siemens 2021 | Lara Felix | SMO RC-CH RI PE 3 2 | 13.12.2021</a:t>
            </a:r>
          </a:p>
        </p:txBody>
      </p:sp>
    </p:spTree>
    <p:extLst>
      <p:ext uri="{BB962C8B-B14F-4D97-AF65-F5344CB8AC3E}">
        <p14:creationId xmlns:p14="http://schemas.microsoft.com/office/powerpoint/2010/main" val="16425709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uiExpand="1" build="p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">
            <a:extLst>
              <a:ext uri="{FF2B5EF4-FFF2-40B4-BE49-F238E27FC236}">
                <a16:creationId xmlns:a16="http://schemas.microsoft.com/office/drawing/2014/main" id="{EF7BA6B8-2D49-49EE-AA38-401584ACB3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takt</a:t>
            </a:r>
            <a:endParaRPr lang="de-DE" noProof="0" dirty="0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A8C0B1B3-7902-4A0F-A274-1F5878B8197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lvl="1"/>
            <a:r>
              <a:rPr lang="de-DE" noProof="0" dirty="0"/>
              <a:t>Lara Felix</a:t>
            </a:r>
          </a:p>
          <a:p>
            <a:r>
              <a:rPr lang="de-DE" dirty="0"/>
              <a:t>Applikationsentwicklung</a:t>
            </a:r>
            <a:br>
              <a:rPr lang="de-DE" noProof="0" dirty="0"/>
            </a:br>
            <a:r>
              <a:rPr lang="de-DE" noProof="0" dirty="0"/>
              <a:t>SMO RC-CH RI PE 3 2</a:t>
            </a:r>
          </a:p>
          <a:p>
            <a:r>
              <a:rPr lang="de-DE" noProof="0" dirty="0"/>
              <a:t>Hammerweg 1</a:t>
            </a:r>
          </a:p>
          <a:p>
            <a:r>
              <a:rPr lang="de-DE" dirty="0"/>
              <a:t>8304 Wallisellen</a:t>
            </a:r>
          </a:p>
          <a:p>
            <a:r>
              <a:rPr lang="de-DE" noProof="0" dirty="0"/>
              <a:t>Schweiz</a:t>
            </a:r>
          </a:p>
          <a:p>
            <a:endParaRPr lang="de-DE" noProof="0" dirty="0"/>
          </a:p>
          <a:p>
            <a:pPr lvl="1"/>
            <a:r>
              <a:rPr lang="de-DE" noProof="0" dirty="0"/>
              <a:t>E-Mail lara.felix@siemens.com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7D86EBFB-CE6A-4758-896A-AAD8E1D08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Intern | © Siemens 2021 | Lara Felix | SMO RC-CH RI PE 3 2 | 13.12.2021</a:t>
            </a:r>
          </a:p>
        </p:txBody>
      </p:sp>
    </p:spTree>
    <p:extLst>
      <p:ext uri="{BB962C8B-B14F-4D97-AF65-F5344CB8AC3E}">
        <p14:creationId xmlns:p14="http://schemas.microsoft.com/office/powerpoint/2010/main" val="30440833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C344B91-4EDB-4AC1-9DD0-BD607A12B0F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4" name="think-cell Folie" r:id="rId4" imgW="333" imgH="333" progId="TCLayout.ActiveDocument.1">
                  <p:embed/>
                </p:oleObj>
              </mc:Choice>
              <mc:Fallback>
                <p:oleObj name="think-cell Folie" r:id="rId4" imgW="333" imgH="33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C344B91-4EDB-4AC1-9DD0-BD607A12B0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A891B444-7C6F-48AC-913F-8E9FB073EF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sz="3200" dirty="0"/>
              <a:t>Ziel der Projektes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64286C61-E739-4D70-A827-17857AED00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0400" y="1320889"/>
            <a:ext cx="11351347" cy="4752000"/>
          </a:xfrm>
        </p:spPr>
        <p:txBody>
          <a:bodyPr/>
          <a:lstStyle/>
          <a:p>
            <a:pPr marL="342900" indent="-342900"/>
            <a:endParaRPr lang="de-CH" dirty="0"/>
          </a:p>
          <a:p>
            <a:pPr marL="522900" lvl="1" indent="-342900"/>
            <a:endParaRPr lang="de-CH" dirty="0"/>
          </a:p>
          <a:p>
            <a:pPr marL="522900" lvl="1" indent="-342900"/>
            <a:endParaRPr lang="de-CH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C77D67-EA9A-4B36-9F37-98C74BF92F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41046" y="6253200"/>
            <a:ext cx="9454672" cy="547200"/>
          </a:xfrm>
        </p:spPr>
        <p:txBody>
          <a:bodyPr/>
          <a:lstStyle/>
          <a:p>
            <a:r>
              <a:rPr lang="de-DE" dirty="0"/>
              <a:t>Intern | © Siemens 2021 | Lara Felix | SMO RC-CH RI PE 3 2 | 13.12.2021</a:t>
            </a:r>
          </a:p>
        </p:txBody>
      </p:sp>
      <p:sp>
        <p:nvSpPr>
          <p:cNvPr id="2" name="Pfeil: nach rechts 1">
            <a:extLst>
              <a:ext uri="{FF2B5EF4-FFF2-40B4-BE49-F238E27FC236}">
                <a16:creationId xmlns:a16="http://schemas.microsoft.com/office/drawing/2014/main" id="{8AEBF20E-FA3A-49FA-A727-F3A3535EFFD6}"/>
              </a:ext>
            </a:extLst>
          </p:cNvPr>
          <p:cNvSpPr/>
          <p:nvPr/>
        </p:nvSpPr>
        <p:spPr>
          <a:xfrm>
            <a:off x="612895" y="1655805"/>
            <a:ext cx="1294988" cy="341047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de-CH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B71023AB-6BC4-4127-80C9-58C99499F8F1}"/>
              </a:ext>
            </a:extLst>
          </p:cNvPr>
          <p:cNvSpPr txBox="1"/>
          <p:nvPr/>
        </p:nvSpPr>
        <p:spPr>
          <a:xfrm>
            <a:off x="1962253" y="1610884"/>
            <a:ext cx="535789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CH" sz="2800" b="1" dirty="0"/>
              <a:t>Multiuser Applikation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13ECC6FC-D6C6-4AD3-B719-431B93FD888D}"/>
              </a:ext>
            </a:extLst>
          </p:cNvPr>
          <p:cNvSpPr txBox="1"/>
          <p:nvPr/>
        </p:nvSpPr>
        <p:spPr>
          <a:xfrm>
            <a:off x="612895" y="3154932"/>
            <a:ext cx="11224878" cy="17543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2400" dirty="0"/>
              <a:t>Objektorientiert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2400" dirty="0"/>
              <a:t>Zentrale Datenbank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2400" dirty="0"/>
              <a:t>Mehrere Clients müssen gleichzeitig auf den gleichen Datenbestand zugreifen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2400" dirty="0"/>
              <a:t>Zentrale Benutzer- und Rechte-Verwaltung</a:t>
            </a:r>
          </a:p>
          <a:p>
            <a:pPr algn="l"/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0792276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606A6B6-1C8D-4C0F-9DB6-8552B9E124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0806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2" name="think-cell Folie" r:id="rId5" imgW="333" imgH="333" progId="TCLayout.ActiveDocument.1">
                  <p:embed/>
                </p:oleObj>
              </mc:Choice>
              <mc:Fallback>
                <p:oleObj name="think-cell Folie" r:id="rId5" imgW="333" imgH="33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606A6B6-1C8D-4C0F-9DB6-8552B9E12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54961C6-6B93-49C5-A4A5-1DB771B1F8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sz="2000" dirty="0"/>
              <a:t>Was ist eine Faltpapier Geschicht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76C0B0C-78A0-4EF5-905D-93A7F0DDC2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Intern | © Siemens 2021 | Lara Felix | SMO RC-CH RI PE 3 2 | 13.12.2021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B4273593-7EB0-468B-86FD-8EF26B6899C9}"/>
              </a:ext>
            </a:extLst>
          </p:cNvPr>
          <p:cNvSpPr txBox="1"/>
          <p:nvPr/>
        </p:nvSpPr>
        <p:spPr>
          <a:xfrm>
            <a:off x="538060" y="2736502"/>
            <a:ext cx="5649354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 algn="l">
              <a:buFont typeface="+mj-lt"/>
              <a:buAutoNum type="arabicPeriod"/>
            </a:pPr>
            <a:r>
              <a:rPr lang="de-DE" dirty="0"/>
              <a:t>Spieler 1 schreibt zwei Sätze</a:t>
            </a:r>
          </a:p>
          <a:p>
            <a:pPr marL="342900" indent="-342900" algn="l">
              <a:buFont typeface="+mj-lt"/>
              <a:buAutoNum type="arabicPeriod"/>
            </a:pPr>
            <a:r>
              <a:rPr lang="de-DE" dirty="0"/>
              <a:t>Spieler 2 sieht den zweiten Satz des Spieler 1</a:t>
            </a:r>
          </a:p>
          <a:p>
            <a:pPr marL="342900" indent="-342900" algn="l">
              <a:buFont typeface="+mj-lt"/>
              <a:buAutoNum type="arabicPeriod"/>
            </a:pPr>
            <a:r>
              <a:rPr lang="de-DE" dirty="0"/>
              <a:t>Aufgrund dessen schreibt er ebenfalls zwei Sätze</a:t>
            </a:r>
          </a:p>
          <a:p>
            <a:pPr marL="342900" indent="-342900" algn="l">
              <a:buFont typeface="+mj-lt"/>
              <a:buAutoNum type="arabicPeriod"/>
            </a:pPr>
            <a:r>
              <a:rPr lang="de-DE" dirty="0"/>
              <a:t>Spieler 3 sieht nur den zweiten Satz von Spieler 2</a:t>
            </a:r>
          </a:p>
          <a:p>
            <a:pPr marL="342900" indent="-342900" algn="l">
              <a:buFont typeface="+mj-lt"/>
              <a:buAutoNum type="arabicPeriod"/>
            </a:pPr>
            <a:r>
              <a:rPr lang="de-DE" dirty="0"/>
              <a:t>Aufgrund dessen schreibt er ebenfalls zwei Sätze</a:t>
            </a:r>
            <a:endParaRPr lang="de-CH" dirty="0" err="1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CB01B09B-8164-4F8F-9F65-4388EE12344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7121255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07D41D-FF41-4596-9AB4-7C492340BF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606" y="2505670"/>
            <a:ext cx="11376788" cy="923330"/>
          </a:xfrm>
        </p:spPr>
        <p:txBody>
          <a:bodyPr/>
          <a:lstStyle/>
          <a:p>
            <a:r>
              <a:rPr lang="de-CH" dirty="0"/>
              <a:t>Umsetzung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01CB032-28D7-49B7-824A-3F7BF0C58AD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98CED20-311E-4350-8DC9-8C32B474384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Intern | © Siemens 2021 | Lara Felix | SMO RC-CH RI PE 3 2 | 13.12.2021</a:t>
            </a:r>
          </a:p>
        </p:txBody>
      </p:sp>
    </p:spTree>
    <p:extLst>
      <p:ext uri="{BB962C8B-B14F-4D97-AF65-F5344CB8AC3E}">
        <p14:creationId xmlns:p14="http://schemas.microsoft.com/office/powerpoint/2010/main" val="35906229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F36C4FC-B2F6-4567-88A6-7A9D415D399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Intern | © Siemens 2021 | Lara Felix | SMO RC-CH RI PE 3 2 | 13.12.2021</a:t>
            </a:r>
          </a:p>
        </p:txBody>
      </p:sp>
      <p:pic>
        <p:nvPicPr>
          <p:cNvPr id="16" name="Inhaltsplatzhalter 15">
            <a:extLst>
              <a:ext uri="{FF2B5EF4-FFF2-40B4-BE49-F238E27FC236}">
                <a16:creationId xmlns:a16="http://schemas.microsoft.com/office/drawing/2014/main" id="{6F8606DD-C274-4129-B727-E87E54A4EC3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8510" t="64873" r="9233" b="7361"/>
          <a:stretch/>
        </p:blipFill>
        <p:spPr>
          <a:xfrm>
            <a:off x="266090" y="2431810"/>
            <a:ext cx="5056370" cy="1706766"/>
          </a:xfrm>
        </p:spPr>
      </p:pic>
      <p:pic>
        <p:nvPicPr>
          <p:cNvPr id="18" name="Grafik 17" descr="Ein Bild, das Text, Shoji, Gebäude enthält.&#10;&#10;Automatisch generierte Beschreibung">
            <a:extLst>
              <a:ext uri="{FF2B5EF4-FFF2-40B4-BE49-F238E27FC236}">
                <a16:creationId xmlns:a16="http://schemas.microsoft.com/office/drawing/2014/main" id="{2C221DE8-E79E-44BD-85EB-4D6E991761E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435" t="3077" r="5332" b="4109"/>
          <a:stretch/>
        </p:blipFill>
        <p:spPr>
          <a:xfrm>
            <a:off x="6096000" y="2101300"/>
            <a:ext cx="2527369" cy="3331530"/>
          </a:xfrm>
          <a:prstGeom prst="rect">
            <a:avLst/>
          </a:prstGeom>
        </p:spPr>
      </p:pic>
      <p:pic>
        <p:nvPicPr>
          <p:cNvPr id="24" name="Grafik 23" descr="Ein Bild, das Schreibgerät, Briefpapier, Stift enthält.&#10;&#10;Automatisch generierte Beschreibung">
            <a:extLst>
              <a:ext uri="{FF2B5EF4-FFF2-40B4-BE49-F238E27FC236}">
                <a16:creationId xmlns:a16="http://schemas.microsoft.com/office/drawing/2014/main" id="{09BA80D7-CB10-450E-A5A9-504D88391B8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5000" b="85938" l="25938" r="76250">
                        <a14:foregroundMark x1="38281" y1="53594" x2="48125" y2="36875"/>
                        <a14:foregroundMark x1="48125" y1="36875" x2="48594" y2="34375"/>
                        <a14:foregroundMark x1="57969" y1="19844" x2="68750" y2="25781"/>
                        <a14:foregroundMark x1="68750" y1="25781" x2="60625" y2="25469"/>
                        <a14:foregroundMark x1="60625" y1="25469" x2="73125" y2="29688"/>
                        <a14:foregroundMark x1="73125" y1="29688" x2="76250" y2="21406"/>
                        <a14:foregroundMark x1="76250" y1="21406" x2="67344" y2="15000"/>
                        <a14:foregroundMark x1="67344" y1="15000" x2="57031" y2="19531"/>
                        <a14:foregroundMark x1="76250" y1="22969" x2="76250" y2="22969"/>
                        <a14:foregroundMark x1="62969" y1="31719" x2="63125" y2="31250"/>
                        <a14:foregroundMark x1="29688" y1="64688" x2="25938" y2="85938"/>
                        <a14:foregroundMark x1="25938" y1="85938" x2="34531" y2="81406"/>
                        <a14:foregroundMark x1="34531" y1="81406" x2="36719" y2="82500"/>
                      </a14:backgroundRemoval>
                    </a14:imgEffect>
                  </a14:imgLayer>
                </a14:imgProps>
              </a:ext>
            </a:extLst>
          </a:blip>
          <a:srcRect l="25000" t="12804" r="20919" b="9277"/>
          <a:stretch/>
        </p:blipFill>
        <p:spPr>
          <a:xfrm>
            <a:off x="266090" y="3395879"/>
            <a:ext cx="515483" cy="742697"/>
          </a:xfrm>
          <a:prstGeom prst="rect">
            <a:avLst/>
          </a:prstGeom>
        </p:spPr>
      </p:pic>
      <p:pic>
        <p:nvPicPr>
          <p:cNvPr id="25" name="Grafik 24" descr="Ein Bild, das Schreibgerät, Briefpapier, Stift enthält.&#10;&#10;Automatisch generierte Beschreibung">
            <a:extLst>
              <a:ext uri="{FF2B5EF4-FFF2-40B4-BE49-F238E27FC236}">
                <a16:creationId xmlns:a16="http://schemas.microsoft.com/office/drawing/2014/main" id="{154BD9B7-3D13-4F44-B4E2-C580349A612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5000" b="85938" l="25938" r="76250">
                        <a14:foregroundMark x1="38281" y1="53594" x2="48125" y2="36875"/>
                        <a14:foregroundMark x1="48125" y1="36875" x2="48594" y2="34375"/>
                        <a14:foregroundMark x1="57969" y1="19844" x2="68750" y2="25781"/>
                        <a14:foregroundMark x1="68750" y1="25781" x2="60625" y2="25469"/>
                        <a14:foregroundMark x1="60625" y1="25469" x2="73125" y2="29688"/>
                        <a14:foregroundMark x1="73125" y1="29688" x2="76250" y2="21406"/>
                        <a14:foregroundMark x1="76250" y1="21406" x2="67344" y2="15000"/>
                        <a14:foregroundMark x1="67344" y1="15000" x2="57031" y2="19531"/>
                        <a14:foregroundMark x1="76250" y1="22969" x2="76250" y2="22969"/>
                        <a14:foregroundMark x1="62969" y1="31719" x2="63125" y2="31250"/>
                        <a14:foregroundMark x1="29688" y1="64688" x2="25938" y2="85938"/>
                        <a14:foregroundMark x1="25938" y1="85938" x2="34531" y2="81406"/>
                        <a14:foregroundMark x1="34531" y1="81406" x2="36719" y2="82500"/>
                      </a14:backgroundRemoval>
                    </a14:imgEffect>
                  </a14:imgLayer>
                </a14:imgProps>
              </a:ext>
            </a:extLst>
          </a:blip>
          <a:srcRect l="25000" t="12804" r="20919" b="9277"/>
          <a:stretch/>
        </p:blipFill>
        <p:spPr>
          <a:xfrm rot="18456861">
            <a:off x="3305728" y="2948855"/>
            <a:ext cx="466884" cy="672676"/>
          </a:xfrm>
          <a:prstGeom prst="rect">
            <a:avLst/>
          </a:prstGeom>
        </p:spPr>
      </p:pic>
      <p:pic>
        <p:nvPicPr>
          <p:cNvPr id="26" name="Grafik 25" descr="Ein Bild, das Schreibgerät, Briefpapier, Stift enthält.&#10;&#10;Automatisch generierte Beschreibung">
            <a:extLst>
              <a:ext uri="{FF2B5EF4-FFF2-40B4-BE49-F238E27FC236}">
                <a16:creationId xmlns:a16="http://schemas.microsoft.com/office/drawing/2014/main" id="{1D681197-5930-4228-A3F3-16A136FBC92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5000" b="85938" l="25938" r="76250">
                        <a14:foregroundMark x1="38281" y1="53594" x2="48125" y2="36875"/>
                        <a14:foregroundMark x1="48125" y1="36875" x2="48594" y2="34375"/>
                        <a14:foregroundMark x1="57969" y1="19844" x2="68750" y2="25781"/>
                        <a14:foregroundMark x1="68750" y1="25781" x2="60625" y2="25469"/>
                        <a14:foregroundMark x1="60625" y1="25469" x2="73125" y2="29688"/>
                        <a14:foregroundMark x1="73125" y1="29688" x2="76250" y2="21406"/>
                        <a14:foregroundMark x1="76250" y1="21406" x2="67344" y2="15000"/>
                        <a14:foregroundMark x1="67344" y1="15000" x2="57031" y2="19531"/>
                        <a14:foregroundMark x1="76250" y1="22969" x2="76250" y2="22969"/>
                        <a14:foregroundMark x1="62969" y1="31719" x2="63125" y2="31250"/>
                        <a14:foregroundMark x1="29688" y1="64688" x2="25938" y2="85938"/>
                        <a14:foregroundMark x1="25938" y1="85938" x2="34531" y2="81406"/>
                        <a14:foregroundMark x1="34531" y1="81406" x2="36719" y2="82500"/>
                      </a14:backgroundRemoval>
                    </a14:imgEffect>
                  </a14:imgLayer>
                </a14:imgProps>
              </a:ext>
            </a:extLst>
          </a:blip>
          <a:srcRect l="25000" t="12804" r="20919" b="9277"/>
          <a:stretch/>
        </p:blipFill>
        <p:spPr>
          <a:xfrm rot="18287388">
            <a:off x="4120304" y="3548264"/>
            <a:ext cx="456956" cy="658372"/>
          </a:xfrm>
          <a:prstGeom prst="rect">
            <a:avLst/>
          </a:prstGeom>
        </p:spPr>
      </p:pic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75DB9344-27C2-4F27-B260-F9F286F9633A}"/>
              </a:ext>
            </a:extLst>
          </p:cNvPr>
          <p:cNvGrpSpPr/>
          <p:nvPr/>
        </p:nvGrpSpPr>
        <p:grpSpPr>
          <a:xfrm>
            <a:off x="9286224" y="1017491"/>
            <a:ext cx="1476797" cy="4448252"/>
            <a:chOff x="9286224" y="1017491"/>
            <a:chExt cx="1476797" cy="4448252"/>
          </a:xfrm>
        </p:grpSpPr>
        <p:pic>
          <p:nvPicPr>
            <p:cNvPr id="22" name="Grafik 21" descr="Ein Bild, das Text enthält.&#10;&#10;Automatisch generierte Beschreibung">
              <a:extLst>
                <a:ext uri="{FF2B5EF4-FFF2-40B4-BE49-F238E27FC236}">
                  <a16:creationId xmlns:a16="http://schemas.microsoft.com/office/drawing/2014/main" id="{3DF7FCFF-469D-427D-8809-0315BBDD2EB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10000" b="90000" l="10000" r="90000"/>
                      </a14:imgEffect>
                    </a14:imgLayer>
                  </a14:imgProps>
                </a:ext>
              </a:extLst>
            </a:blip>
            <a:srcRect l="40561" r="40374"/>
            <a:stretch/>
          </p:blipFill>
          <p:spPr>
            <a:xfrm>
              <a:off x="9514702" y="1017491"/>
              <a:ext cx="1248319" cy="4448252"/>
            </a:xfrm>
            <a:prstGeom prst="rect">
              <a:avLst/>
            </a:prstGeom>
          </p:spPr>
        </p:pic>
        <p:pic>
          <p:nvPicPr>
            <p:cNvPr id="27" name="Grafik 26" descr="Ein Bild, das Schreibgerät, Briefpapier, Stift enthält.&#10;&#10;Automatisch generierte Beschreibung">
              <a:extLst>
                <a:ext uri="{FF2B5EF4-FFF2-40B4-BE49-F238E27FC236}">
                  <a16:creationId xmlns:a16="http://schemas.microsoft.com/office/drawing/2014/main" id="{2FC9517D-7942-48DC-91B1-5D659BB88E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5000" b="85938" l="25938" r="76250">
                          <a14:foregroundMark x1="38281" y1="53594" x2="48125" y2="36875"/>
                          <a14:foregroundMark x1="48125" y1="36875" x2="48594" y2="34375"/>
                          <a14:foregroundMark x1="57969" y1="19844" x2="68750" y2="25781"/>
                          <a14:foregroundMark x1="68750" y1="25781" x2="60625" y2="25469"/>
                          <a14:foregroundMark x1="60625" y1="25469" x2="73125" y2="29688"/>
                          <a14:foregroundMark x1="73125" y1="29688" x2="76250" y2="21406"/>
                          <a14:foregroundMark x1="76250" y1="21406" x2="67344" y2="15000"/>
                          <a14:foregroundMark x1="67344" y1="15000" x2="57031" y2="19531"/>
                          <a14:foregroundMark x1="76250" y1="22969" x2="76250" y2="22969"/>
                          <a14:foregroundMark x1="62969" y1="31719" x2="63125" y2="31250"/>
                          <a14:foregroundMark x1="29688" y1="64688" x2="25938" y2="85938"/>
                          <a14:foregroundMark x1="25938" y1="85938" x2="34531" y2="81406"/>
                          <a14:foregroundMark x1="34531" y1="81406" x2="36719" y2="82500"/>
                        </a14:backgroundRemoval>
                      </a14:imgEffect>
                    </a14:imgLayer>
                  </a14:imgProps>
                </a:ext>
              </a:extLst>
            </a:blip>
            <a:srcRect l="25000" t="12804" r="20919" b="9277"/>
            <a:stretch/>
          </p:blipFill>
          <p:spPr>
            <a:xfrm rot="20901077">
              <a:off x="9286224" y="3555185"/>
              <a:ext cx="456956" cy="658372"/>
            </a:xfrm>
            <a:prstGeom prst="rect">
              <a:avLst/>
            </a:prstGeom>
          </p:spPr>
        </p:pic>
      </p:grpSp>
      <p:sp>
        <p:nvSpPr>
          <p:cNvPr id="29" name="Titel 1">
            <a:extLst>
              <a:ext uri="{FF2B5EF4-FFF2-40B4-BE49-F238E27FC236}">
                <a16:creationId xmlns:a16="http://schemas.microsoft.com/office/drawing/2014/main" id="{BDA9AE89-A52E-448C-A067-1A0A246F30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 vert="horz"/>
          <a:lstStyle/>
          <a:p>
            <a:r>
              <a:rPr lang="de-CH" sz="2000" dirty="0"/>
              <a:t>Ausgangslage - Wirklichkeit</a:t>
            </a:r>
          </a:p>
        </p:txBody>
      </p:sp>
    </p:spTree>
    <p:extLst>
      <p:ext uri="{BB962C8B-B14F-4D97-AF65-F5344CB8AC3E}">
        <p14:creationId xmlns:p14="http://schemas.microsoft.com/office/powerpoint/2010/main" val="3632980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F36C4FC-B2F6-4567-88A6-7A9D415D399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Intern | © Siemens 2021 | Lara Felix | SMO RC-CH RI PE 3 2 | 13.12.2021</a:t>
            </a:r>
          </a:p>
        </p:txBody>
      </p:sp>
      <p:pic>
        <p:nvPicPr>
          <p:cNvPr id="16" name="Inhaltsplatzhalter 15">
            <a:extLst>
              <a:ext uri="{FF2B5EF4-FFF2-40B4-BE49-F238E27FC236}">
                <a16:creationId xmlns:a16="http://schemas.microsoft.com/office/drawing/2014/main" id="{6F8606DD-C274-4129-B727-E87E54A4EC3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8510" t="64873" r="9233" b="7361"/>
          <a:stretch/>
        </p:blipFill>
        <p:spPr>
          <a:xfrm>
            <a:off x="266090" y="2431810"/>
            <a:ext cx="5056370" cy="1706766"/>
          </a:xfrm>
        </p:spPr>
      </p:pic>
      <p:pic>
        <p:nvPicPr>
          <p:cNvPr id="22" name="Grafik 21" descr="Ein Bild, das Text enthält.&#10;&#10;Automatisch generierte Beschreibung">
            <a:extLst>
              <a:ext uri="{FF2B5EF4-FFF2-40B4-BE49-F238E27FC236}">
                <a16:creationId xmlns:a16="http://schemas.microsoft.com/office/drawing/2014/main" id="{3DF7FCFF-469D-427D-8809-0315BBDD2EB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rcRect l="40561" r="40374"/>
          <a:stretch/>
        </p:blipFill>
        <p:spPr>
          <a:xfrm>
            <a:off x="9213466" y="1054800"/>
            <a:ext cx="1248319" cy="4448252"/>
          </a:xfrm>
          <a:prstGeom prst="rect">
            <a:avLst/>
          </a:prstGeom>
        </p:spPr>
      </p:pic>
      <p:sp>
        <p:nvSpPr>
          <p:cNvPr id="29" name="Titel 1">
            <a:extLst>
              <a:ext uri="{FF2B5EF4-FFF2-40B4-BE49-F238E27FC236}">
                <a16:creationId xmlns:a16="http://schemas.microsoft.com/office/drawing/2014/main" id="{BDA9AE89-A52E-448C-A067-1A0A246F30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 vert="horz"/>
          <a:lstStyle/>
          <a:p>
            <a:r>
              <a:rPr lang="de-CH" sz="2000" dirty="0"/>
              <a:t>Akteure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0DE8C5E1-99A2-4A01-A0A3-F2D0FE3AF054}"/>
              </a:ext>
            </a:extLst>
          </p:cNvPr>
          <p:cNvSpPr txBox="1"/>
          <p:nvPr/>
        </p:nvSpPr>
        <p:spPr>
          <a:xfrm>
            <a:off x="1561894" y="4458318"/>
            <a:ext cx="267400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dirty="0"/>
              <a:t>Kinder = User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2CC46AE3-D8A3-4EAC-A096-AED61BDF8F04}"/>
              </a:ext>
            </a:extLst>
          </p:cNvPr>
          <p:cNvSpPr txBox="1"/>
          <p:nvPr/>
        </p:nvSpPr>
        <p:spPr>
          <a:xfrm>
            <a:off x="8500625" y="5246059"/>
            <a:ext cx="267400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dirty="0"/>
              <a:t>Mutter = Gamemaster</a:t>
            </a:r>
          </a:p>
        </p:txBody>
      </p:sp>
    </p:spTree>
    <p:extLst>
      <p:ext uri="{BB962C8B-B14F-4D97-AF65-F5344CB8AC3E}">
        <p14:creationId xmlns:p14="http://schemas.microsoft.com/office/powerpoint/2010/main" val="12252605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F36C4FC-B2F6-4567-88A6-7A9D415D399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Intern | © Siemens 2021 | Lara Felix | SMO RC-CH RI PE 3 2 | 13.12.2021</a:t>
            </a:r>
          </a:p>
        </p:txBody>
      </p:sp>
      <p:pic>
        <p:nvPicPr>
          <p:cNvPr id="16" name="Inhaltsplatzhalter 15">
            <a:extLst>
              <a:ext uri="{FF2B5EF4-FFF2-40B4-BE49-F238E27FC236}">
                <a16:creationId xmlns:a16="http://schemas.microsoft.com/office/drawing/2014/main" id="{6F8606DD-C274-4129-B727-E87E54A4EC3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8510" t="64873" r="9233" b="7361"/>
          <a:stretch/>
        </p:blipFill>
        <p:spPr>
          <a:xfrm>
            <a:off x="661507" y="1698644"/>
            <a:ext cx="2493849" cy="841793"/>
          </a:xfrm>
        </p:spPr>
      </p:pic>
      <p:pic>
        <p:nvPicPr>
          <p:cNvPr id="22" name="Grafik 21" descr="Ein Bild, das Text enthält.&#10;&#10;Automatisch generierte Beschreibung">
            <a:extLst>
              <a:ext uri="{FF2B5EF4-FFF2-40B4-BE49-F238E27FC236}">
                <a16:creationId xmlns:a16="http://schemas.microsoft.com/office/drawing/2014/main" id="{3DF7FCFF-469D-427D-8809-0315BBDD2EB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rcRect l="40561" r="40374"/>
          <a:stretch/>
        </p:blipFill>
        <p:spPr>
          <a:xfrm>
            <a:off x="8521488" y="682313"/>
            <a:ext cx="678793" cy="2418806"/>
          </a:xfrm>
          <a:prstGeom prst="rect">
            <a:avLst/>
          </a:prstGeom>
        </p:spPr>
      </p:pic>
      <p:sp>
        <p:nvSpPr>
          <p:cNvPr id="29" name="Titel 1">
            <a:extLst>
              <a:ext uri="{FF2B5EF4-FFF2-40B4-BE49-F238E27FC236}">
                <a16:creationId xmlns:a16="http://schemas.microsoft.com/office/drawing/2014/main" id="{BDA9AE89-A52E-448C-A067-1A0A246F30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 vert="horz"/>
          <a:lstStyle/>
          <a:p>
            <a:r>
              <a:rPr lang="de-CH" sz="2000" dirty="0"/>
              <a:t>Akteure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0DE8C5E1-99A2-4A01-A0A3-F2D0FE3AF054}"/>
              </a:ext>
            </a:extLst>
          </p:cNvPr>
          <p:cNvSpPr txBox="1"/>
          <p:nvPr/>
        </p:nvSpPr>
        <p:spPr>
          <a:xfrm>
            <a:off x="731520" y="2975508"/>
            <a:ext cx="4715338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b="1" dirty="0"/>
              <a:t>Kinder = Us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tandardrolle, wenn man sich neu registrier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Einloggen und auslog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chreiben von 2 Sätz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Herunterladen der Geschichte</a:t>
            </a:r>
            <a:endParaRPr lang="de-CH" b="1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2CC46AE3-D8A3-4EAC-A096-AED61BDF8F04}"/>
              </a:ext>
            </a:extLst>
          </p:cNvPr>
          <p:cNvSpPr txBox="1"/>
          <p:nvPr/>
        </p:nvSpPr>
        <p:spPr>
          <a:xfrm>
            <a:off x="6400800" y="3079303"/>
            <a:ext cx="5486400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b="1" dirty="0"/>
              <a:t>Mutter = Gamemas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Wird in der DB manuell von einem User zu einem Game Master migrie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Einloggen und auslog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ieht aktueller Stand der Geschich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ieht welcher User was geschrieben ha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87052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F36C4FC-B2F6-4567-88A6-7A9D415D399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Intern | © Siemens 2021 | Lara Felix | SMO RC-CH RI PE 3 2 | 13.12.2021</a:t>
            </a:r>
          </a:p>
        </p:txBody>
      </p:sp>
      <p:pic>
        <p:nvPicPr>
          <p:cNvPr id="16" name="Inhaltsplatzhalter 15">
            <a:extLst>
              <a:ext uri="{FF2B5EF4-FFF2-40B4-BE49-F238E27FC236}">
                <a16:creationId xmlns:a16="http://schemas.microsoft.com/office/drawing/2014/main" id="{6F8606DD-C274-4129-B727-E87E54A4EC3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8510" t="64873" r="65734" b="7361"/>
          <a:stretch/>
        </p:blipFill>
        <p:spPr>
          <a:xfrm>
            <a:off x="7161257" y="1054800"/>
            <a:ext cx="3113903" cy="3356929"/>
          </a:xfrm>
        </p:spPr>
      </p:pic>
      <p:sp>
        <p:nvSpPr>
          <p:cNvPr id="29" name="Titel 1">
            <a:extLst>
              <a:ext uri="{FF2B5EF4-FFF2-40B4-BE49-F238E27FC236}">
                <a16:creationId xmlns:a16="http://schemas.microsoft.com/office/drawing/2014/main" id="{BDA9AE89-A52E-448C-A067-1A0A246F30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 vert="horz"/>
          <a:lstStyle/>
          <a:p>
            <a:r>
              <a:rPr lang="de-CH" sz="2000" dirty="0"/>
              <a:t>Ablauf - Toni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5B9C7CE-74C4-42A1-B165-5E329911BB06}"/>
              </a:ext>
            </a:extLst>
          </p:cNvPr>
          <p:cNvSpPr txBox="1"/>
          <p:nvPr/>
        </p:nvSpPr>
        <p:spPr>
          <a:xfrm>
            <a:off x="276947" y="2484338"/>
            <a:ext cx="5819053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 algn="l">
              <a:buFont typeface="Symbol" panose="05050102010706020507" pitchFamily="18" charset="2"/>
              <a:buChar char="-"/>
            </a:pPr>
            <a:r>
              <a:rPr lang="de-DE" dirty="0"/>
              <a:t>Entscheidet sich mit zu Spielen</a:t>
            </a:r>
          </a:p>
          <a:p>
            <a:pPr marL="342900" indent="-342900" algn="l">
              <a:buFont typeface="Symbol" panose="05050102010706020507" pitchFamily="18" charset="2"/>
              <a:buChar char="-"/>
            </a:pPr>
            <a:r>
              <a:rPr lang="de-DE" dirty="0"/>
              <a:t>Startet die Geschichte und schreibt zwei Sätze</a:t>
            </a:r>
          </a:p>
          <a:p>
            <a:pPr marL="342900" indent="-342900" algn="l">
              <a:buFont typeface="Symbol" panose="05050102010706020507" pitchFamily="18" charset="2"/>
              <a:buChar char="-"/>
            </a:pPr>
            <a:r>
              <a:rPr lang="de-DE" dirty="0"/>
              <a:t>Faltet den ersten Satz um</a:t>
            </a:r>
          </a:p>
          <a:p>
            <a:pPr marL="342900" indent="-342900" algn="l">
              <a:buFont typeface="Symbol" panose="05050102010706020507" pitchFamily="18" charset="2"/>
              <a:buChar char="-"/>
            </a:pPr>
            <a:r>
              <a:rPr lang="de-DE" dirty="0"/>
              <a:t>Gibt das Blatt weiter und wartet bis er wieder dran ist.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408AC22C-F328-4F98-AF0C-675136170DB3}"/>
              </a:ext>
            </a:extLst>
          </p:cNvPr>
          <p:cNvSpPr txBox="1"/>
          <p:nvPr/>
        </p:nvSpPr>
        <p:spPr>
          <a:xfrm>
            <a:off x="8643139" y="4353145"/>
            <a:ext cx="9144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CH" dirty="0"/>
              <a:t>Toni</a:t>
            </a:r>
          </a:p>
        </p:txBody>
      </p:sp>
    </p:spTree>
    <p:extLst>
      <p:ext uri="{BB962C8B-B14F-4D97-AF65-F5344CB8AC3E}">
        <p14:creationId xmlns:p14="http://schemas.microsoft.com/office/powerpoint/2010/main" val="16014907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75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’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’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MBAQEBAQEBAQEBAQEBAQIAAAAAAAAAAwAAAAMAAAAA/////wQAJwwAAAAAAAAAAAAAIAD///////////////8AAAD///////////////8DAAAAAw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wTUv0RnvYJGk1N1Hk2UayQFAAAAAAADAAAAAwADAAAAAQADAAAAAAD///////8DAAAAAAD///////8DAAAAAAD///////8DAAEA////////BAAAAAMAEAAL/4IPFZrKbkePttXx+Ox0YA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wEDAAAAAwD///////8lAAZMaW5rZWRTaGFwZVByZXNlbnRhdGlvblNldHRpbmdzRGF0YV8wBQAAAAEABAAAAAAABAAAAAIA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ATUv0RnvYJGk1N1Hk2UayQDRGF0YQAbAAAABExpbmtlZFNoYXBlRGF0YQAFAAAAAAACTmFtZQAZAAAATGlua2VkU2hhcGVzRGF0YVByb3BlcnR5ABBWZXJzaW9uAAAAAAAJTGFzdFdyaXRlAMA//VJ6AQAAAAEA/////50AnQAAAAVfaWQAEAAAAAT/gg8VmspuR4+21fH47HRgA0RhdGEAKgAAAAhQcmVzZW50YXRpb25TY2FubmVkRm9yTGlua2VkU2hhcGVzAAEAAk5hbWUAJAAAAExpbmtlZFNoYXBlUHJlc2VudGF0aW9uU2V0dGluZ3NEYXRhABBWZXJzaW9uAAAAAAAJTGFzdFdyaXRlAJRA/VJ6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3C443D545BC8C47883FBE39EFAB96E2" ma:contentTypeVersion="11" ma:contentTypeDescription="Create a new document." ma:contentTypeScope="" ma:versionID="64b548d874e2b8d2e0e0b8cb311d5b86">
  <xsd:schema xmlns:xsd="http://www.w3.org/2001/XMLSchema" xmlns:xs="http://www.w3.org/2001/XMLSchema" xmlns:p="http://schemas.microsoft.com/office/2006/metadata/properties" xmlns:ns2="1553f72f-00eb-4a7f-8788-1dfad40bd87a" xmlns:ns3="ad917e58-2e37-4329-ac5d-6ffac9cda2bb" targetNamespace="http://schemas.microsoft.com/office/2006/metadata/properties" ma:root="true" ma:fieldsID="9d0f2537443633dd922056f6ff41e81d" ns2:_="" ns3:_="">
    <xsd:import namespace="1553f72f-00eb-4a7f-8788-1dfad40bd87a"/>
    <xsd:import namespace="ad917e58-2e37-4329-ac5d-6ffac9cda2b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553f72f-00eb-4a7f-8788-1dfad40bd87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d917e58-2e37-4329-ac5d-6ffac9cda2bb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7AC2A41-67B4-4FEB-A9D9-2E9BB4475772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91F0E5D0-2864-43FF-B9D5-F83B2FA8737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AFC7108-6140-4216-B4D2-1F513F4FDB0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553f72f-00eb-4a7f-8788-1dfad40bd87a"/>
    <ds:schemaRef ds:uri="ad917e58-2e37-4329-ac5d-6ffac9cda2b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72</Words>
  <Application>Microsoft Office PowerPoint</Application>
  <PresentationFormat>Breitbild</PresentationFormat>
  <Paragraphs>152</Paragraphs>
  <Slides>20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27" baseType="lpstr">
      <vt:lpstr>Arial</vt:lpstr>
      <vt:lpstr>Nunito Sans</vt:lpstr>
      <vt:lpstr>Symbol</vt:lpstr>
      <vt:lpstr>Wingdings</vt:lpstr>
      <vt:lpstr>Siemens 2020</vt:lpstr>
      <vt:lpstr>1_Siemens 2020</vt:lpstr>
      <vt:lpstr>think-cell Folie</vt:lpstr>
      <vt:lpstr>Präsentation  M223: Multiuserapplikation Folding Paper Story</vt:lpstr>
      <vt:lpstr>Ablauf</vt:lpstr>
      <vt:lpstr>Ziel der Projektes</vt:lpstr>
      <vt:lpstr>Was ist eine Faltpapier Geschichte</vt:lpstr>
      <vt:lpstr>Umsetzung</vt:lpstr>
      <vt:lpstr>Ausgangslage - Wirklichkeit</vt:lpstr>
      <vt:lpstr>Akteure</vt:lpstr>
      <vt:lpstr>Akteure</vt:lpstr>
      <vt:lpstr>Ablauf - Toni</vt:lpstr>
      <vt:lpstr>Ablauf - Toni</vt:lpstr>
      <vt:lpstr>Ablauf - Toni</vt:lpstr>
      <vt:lpstr>Ablauf - Toni</vt:lpstr>
      <vt:lpstr>Ablauf - Mara</vt:lpstr>
      <vt:lpstr>Ablauf - Mara</vt:lpstr>
      <vt:lpstr>Ablauf - Isabell</vt:lpstr>
      <vt:lpstr>Ablauf - Mara</vt:lpstr>
      <vt:lpstr>Sprache</vt:lpstr>
      <vt:lpstr>Ziel und ihre Umsetzung</vt:lpstr>
      <vt:lpstr>Verbesserungen</vt:lpstr>
      <vt:lpstr>Kontak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DPP Update Philippe Scheuber, 19. Januar 2021</dc:title>
  <dc:creator>Lara</dc:creator>
  <cp:keywords>Template</cp:keywords>
  <dc:description>Version 3.0.8
September 2020</dc:description>
  <cp:lastModifiedBy>Lara Felix</cp:lastModifiedBy>
  <cp:revision>22</cp:revision>
  <dcterms:created xsi:type="dcterms:W3CDTF">2020-07-27T12:43:17Z</dcterms:created>
  <dcterms:modified xsi:type="dcterms:W3CDTF">2021-12-11T13:59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59b6cd5-d141-4a33-8bf1-0ca04484304f_Enabled">
    <vt:lpwstr>true</vt:lpwstr>
  </property>
  <property fmtid="{D5CDD505-2E9C-101B-9397-08002B2CF9AE}" pid="3" name="MSIP_Label_a59b6cd5-d141-4a33-8bf1-0ca04484304f_SetDate">
    <vt:lpwstr>2020-11-26T07:19:15Z</vt:lpwstr>
  </property>
  <property fmtid="{D5CDD505-2E9C-101B-9397-08002B2CF9AE}" pid="4" name="MSIP_Label_a59b6cd5-d141-4a33-8bf1-0ca04484304f_Method">
    <vt:lpwstr>Standard</vt:lpwstr>
  </property>
  <property fmtid="{D5CDD505-2E9C-101B-9397-08002B2CF9AE}" pid="5" name="MSIP_Label_a59b6cd5-d141-4a33-8bf1-0ca04484304f_Name">
    <vt:lpwstr>restricted-default</vt:lpwstr>
  </property>
  <property fmtid="{D5CDD505-2E9C-101B-9397-08002B2CF9AE}" pid="6" name="MSIP_Label_a59b6cd5-d141-4a33-8bf1-0ca04484304f_SiteId">
    <vt:lpwstr>38ae3bcd-9579-4fd4-adda-b42e1495d55a</vt:lpwstr>
  </property>
  <property fmtid="{D5CDD505-2E9C-101B-9397-08002B2CF9AE}" pid="7" name="MSIP_Label_a59b6cd5-d141-4a33-8bf1-0ca04484304f_ActionId">
    <vt:lpwstr>6070abc5-2d96-4f04-98e9-9ad5128387ee</vt:lpwstr>
  </property>
  <property fmtid="{D5CDD505-2E9C-101B-9397-08002B2CF9AE}" pid="8" name="MSIP_Label_a59b6cd5-d141-4a33-8bf1-0ca04484304f_ContentBits">
    <vt:lpwstr>0</vt:lpwstr>
  </property>
  <property fmtid="{D5CDD505-2E9C-101B-9397-08002B2CF9AE}" pid="9" name="Document_Confidentiality">
    <vt:lpwstr>Restricted</vt:lpwstr>
  </property>
  <property fmtid="{D5CDD505-2E9C-101B-9397-08002B2CF9AE}" pid="10" name="ContentTypeId">
    <vt:lpwstr>0x010100F3C443D545BC8C47883FBE39EFAB96E2</vt:lpwstr>
  </property>
</Properties>
</file>